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charts/colors6.xml" ContentType="application/vnd.ms-office.chartcolor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charts/colors2.xml" ContentType="application/vnd.ms-office.chartcolorstyl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charts/chart7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style5.xml" ContentType="application/vnd.ms-office.chartstyl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charts/style1.xml" ContentType="application/vnd.ms-office.chartstyl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charts/colors7.xml" ContentType="application/vnd.ms-office.chartcolor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charts/chart8.xml" ContentType="application/vnd.openxmlformats-officedocument.drawingml.chart+xml"/>
  <Default Extension="wdp" ContentType="image/vnd.ms-photo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charts/chart4.xml" ContentType="application/vnd.openxmlformats-officedocument.drawingml.chart+xml"/>
  <Override PartName="/ppt/charts/style6.xml" ContentType="application/vnd.ms-office.chartstyl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charts/style4.xml" ContentType="application/vnd.ms-office.chartstyle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charts/colors8.xml" ContentType="application/vnd.ms-office.chartcolorstyle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charts/colors4.xml" ContentType="application/vnd.ms-office.chartcolorstyle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charts/style7.xml" ContentType="application/vnd.ms-office.chartstyl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style3.xml" ContentType="application/vnd.ms-office.chartstyle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charts/colors5.xml" ContentType="application/vnd.ms-office.chartcolorstyl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charts/chart6.xml" ContentType="application/vnd.openxmlformats-officedocument.drawingml.chart+xml"/>
  <Override PartName="/ppt/charts/style8.xml" ContentType="application/vnd.ms-office.chartstyl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  <p:sldMasterId id="2147483674" r:id="rId3"/>
    <p:sldMasterId id="2147483686" r:id="rId4"/>
    <p:sldMasterId id="2147483698" r:id="rId5"/>
  </p:sldMasterIdLst>
  <p:sldIdLst>
    <p:sldId id="258" r:id="rId6"/>
    <p:sldId id="264" r:id="rId7"/>
    <p:sldId id="259" r:id="rId8"/>
    <p:sldId id="262" r:id="rId9"/>
    <p:sldId id="265" r:id="rId10"/>
    <p:sldId id="268" r:id="rId11"/>
    <p:sldId id="271" r:id="rId12"/>
    <p:sldId id="260" r:id="rId13"/>
    <p:sldId id="261" r:id="rId14"/>
    <p:sldId id="267" r:id="rId15"/>
    <p:sldId id="263" r:id="rId16"/>
    <p:sldId id="269" r:id="rId17"/>
    <p:sldId id="25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E5F5"/>
    <a:srgbClr val="1396D8"/>
    <a:srgbClr val="0765C3"/>
    <a:srgbClr val="F86E24"/>
    <a:srgbClr val="CE4C07"/>
    <a:srgbClr val="C8CED6"/>
    <a:srgbClr val="A5AFBB"/>
    <a:srgbClr val="46515E"/>
    <a:srgbClr val="D1B0AB"/>
    <a:srgbClr val="40272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7001" autoAdjust="0"/>
    <p:restoredTop sz="94660"/>
  </p:normalViewPr>
  <p:slideViewPr>
    <p:cSldViewPr snapToGrid="0">
      <p:cViewPr varScale="1">
        <p:scale>
          <a:sx n="91" d="100"/>
          <a:sy n="91" d="100"/>
        </p:scale>
        <p:origin x="-438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Office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Office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Microsoft_Office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oleObject" Target="file:///C:\Users\00508069\Desktop\Official\Presentations\Workshop%20on%20CPPP%2021st%20Jan%202019\e-Tender%20Stats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openxmlformats.org/officeDocument/2006/relationships/oleObject" Target="file:///C:\Users\00508069\Desktop\Official\Presentations\Workshop%20on%20CPPP%2021st%20Jan%202019\e-Tender%20Stats.xlsx" TargetMode="External"/><Relationship Id="rId1" Type="http://schemas.openxmlformats.org/officeDocument/2006/relationships/image" Target="../media/image28.png"/><Relationship Id="rId4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openxmlformats.org/officeDocument/2006/relationships/oleObject" Target="file:///C:\Users\00508069\Desktop\Official\Presentations\Workshop%20on%20CPPP%2021st%20Jan%202019\e-Tender%20Stats.xlsx" TargetMode="External"/><Relationship Id="rId1" Type="http://schemas.openxmlformats.org/officeDocument/2006/relationships/image" Target="../media/image29.png"/><Relationship Id="rId4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5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none" baseline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>
                <a:solidFill>
                  <a:schemeClr val="accent3">
                    <a:lumMod val="75000"/>
                  </a:schemeClr>
                </a:solidFill>
              </a:rPr>
              <a:t>Yearly</a:t>
            </a:r>
            <a:r>
              <a:rPr lang="en-US" baseline="0" dirty="0" smtClean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3">
                    <a:lumMod val="75000"/>
                  </a:schemeClr>
                </a:solidFill>
              </a:rPr>
              <a:t>Published </a:t>
            </a:r>
            <a:r>
              <a:rPr lang="en-US" dirty="0">
                <a:solidFill>
                  <a:schemeClr val="accent3">
                    <a:lumMod val="75000"/>
                  </a:schemeClr>
                </a:solidFill>
              </a:rPr>
              <a:t>e-Tenders </a:t>
            </a:r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Published e-Tenders </c:v>
                </c:pt>
              </c:strCache>
            </c:strRef>
          </c:tx>
          <c:spPr>
            <a:ln w="22225" cap="rnd">
              <a:solidFill>
                <a:schemeClr val="accent3"/>
              </a:solidFill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3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  <c:pt idx="4">
                  <c:v>2015-16</c:v>
                </c:pt>
                <c:pt idx="5">
                  <c:v>2016-17</c:v>
                </c:pt>
                <c:pt idx="6">
                  <c:v>2017-18</c:v>
                </c:pt>
                <c:pt idx="7">
                  <c:v>2018-19 (till Dec'2018)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75</c:v>
                </c:pt>
                <c:pt idx="1">
                  <c:v>3359</c:v>
                </c:pt>
                <c:pt idx="2">
                  <c:v>8349</c:v>
                </c:pt>
                <c:pt idx="3">
                  <c:v>11427</c:v>
                </c:pt>
                <c:pt idx="4">
                  <c:v>14854</c:v>
                </c:pt>
                <c:pt idx="5">
                  <c:v>18895</c:v>
                </c:pt>
                <c:pt idx="6">
                  <c:v>20427</c:v>
                </c:pt>
                <c:pt idx="7">
                  <c:v>15441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A-6A8A-4AAC-8FCB-73C53B7AFD98}"/>
            </c:ext>
          </c:extLst>
        </c:ser>
        <c:dLbls/>
        <c:marker val="1"/>
        <c:axId val="186255232"/>
        <c:axId val="194720896"/>
      </c:lineChart>
      <c:catAx>
        <c:axId val="186255232"/>
        <c:scaling>
          <c:orientation val="minMax"/>
        </c:scaling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720896"/>
        <c:crosses val="autoZero"/>
        <c:auto val="1"/>
        <c:lblAlgn val="ctr"/>
        <c:lblOffset val="100"/>
      </c:catAx>
      <c:valAx>
        <c:axId val="194720896"/>
        <c:scaling>
          <c:orientation val="minMax"/>
        </c:scaling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6255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rgbClr val="FEE2D3">
        <a:alpha val="20000"/>
      </a:srgbClr>
    </a:solidFill>
    <a:ln w="9525" cap="flat" cmpd="sng" algn="ctr">
      <a:solidFill>
        <a:schemeClr val="tx1">
          <a:lumMod val="50000"/>
          <a:lumOff val="50000"/>
          <a:alpha val="34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3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r>
              <a:rPr lang="en-IN" dirty="0" smtClean="0">
                <a:solidFill>
                  <a:schemeClr val="accent1"/>
                </a:solidFill>
              </a:rPr>
              <a:t>No</a:t>
            </a:r>
            <a:r>
              <a:rPr lang="en-IN" dirty="0">
                <a:solidFill>
                  <a:schemeClr val="accent1"/>
                </a:solidFill>
              </a:rPr>
              <a:t>. of Department Users</a:t>
            </a:r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Cummulative No. of Department Users</c:v>
                </c:pt>
              </c:strCache>
            </c:strRef>
          </c:tx>
          <c:spPr>
            <a:ln w="22225" cap="rnd">
              <a:solidFill>
                <a:schemeClr val="accent1"/>
              </a:solidFill>
            </a:ln>
            <a:effectLst>
              <a:glow rad="139700">
                <a:schemeClr val="accent1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  <c:pt idx="4">
                  <c:v>2015-16</c:v>
                </c:pt>
                <c:pt idx="5">
                  <c:v>2016-17</c:v>
                </c:pt>
                <c:pt idx="6">
                  <c:v>2017-18</c:v>
                </c:pt>
                <c:pt idx="7">
                  <c:v>2018-19 (Till Dec'2018)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01</c:v>
                </c:pt>
                <c:pt idx="1">
                  <c:v>2838</c:v>
                </c:pt>
                <c:pt idx="2">
                  <c:v>5031</c:v>
                </c:pt>
                <c:pt idx="3">
                  <c:v>6247</c:v>
                </c:pt>
                <c:pt idx="4">
                  <c:v>7142</c:v>
                </c:pt>
                <c:pt idx="5">
                  <c:v>8071</c:v>
                </c:pt>
                <c:pt idx="6">
                  <c:v>8883</c:v>
                </c:pt>
                <c:pt idx="7">
                  <c:v>9513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A-6A8A-4AAC-8FCB-73C53B7AFD98}"/>
            </c:ext>
          </c:extLst>
        </c:ser>
        <c:dLbls/>
        <c:marker val="1"/>
        <c:axId val="194646784"/>
        <c:axId val="194648320"/>
      </c:lineChart>
      <c:catAx>
        <c:axId val="194646784"/>
        <c:scaling>
          <c:orientation val="minMax"/>
        </c:scaling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648320"/>
        <c:crosses val="autoZero"/>
        <c:auto val="1"/>
        <c:lblAlgn val="ctr"/>
        <c:lblOffset val="100"/>
      </c:catAx>
      <c:valAx>
        <c:axId val="194648320"/>
        <c:scaling>
          <c:orientation val="minMax"/>
        </c:scaling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646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rgbClr val="FEE2D3">
        <a:alpha val="20000"/>
      </a:srgbClr>
    </a:solidFill>
    <a:ln w="9525" cap="flat" cmpd="sng" algn="ctr">
      <a:solidFill>
        <a:schemeClr val="tx1">
          <a:lumMod val="50000"/>
          <a:lumOff val="50000"/>
          <a:alpha val="34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7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cap="none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pPr>
            <a:r>
              <a:rPr lang="en-IN" dirty="0" smtClean="0">
                <a:solidFill>
                  <a:schemeClr val="accent5"/>
                </a:solidFill>
              </a:rPr>
              <a:t>No</a:t>
            </a:r>
            <a:r>
              <a:rPr lang="en-IN" dirty="0">
                <a:solidFill>
                  <a:schemeClr val="accent5"/>
                </a:solidFill>
              </a:rPr>
              <a:t>. of </a:t>
            </a:r>
            <a:r>
              <a:rPr lang="en-IN" dirty="0" smtClean="0">
                <a:solidFill>
                  <a:schemeClr val="accent5"/>
                </a:solidFill>
              </a:rPr>
              <a:t>Registered Bidders</a:t>
            </a:r>
            <a:endParaRPr lang="en-IN" dirty="0">
              <a:solidFill>
                <a:schemeClr val="accent5"/>
              </a:solidFill>
            </a:endParaRPr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Cummulative No. of Bidders</c:v>
                </c:pt>
              </c:strCache>
            </c:strRef>
          </c:tx>
          <c:spPr>
            <a:ln w="22225" cap="rnd">
              <a:solidFill>
                <a:schemeClr val="accent5"/>
              </a:solidFill>
            </a:ln>
            <a:effectLst>
              <a:glow rad="139700">
                <a:schemeClr val="accent5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accent5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  <c:pt idx="4">
                  <c:v>2015-16</c:v>
                </c:pt>
                <c:pt idx="5">
                  <c:v>2016-17</c:v>
                </c:pt>
                <c:pt idx="6">
                  <c:v>2017-18</c:v>
                </c:pt>
                <c:pt idx="7">
                  <c:v>2018-19 (Till Dec'2018)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813</c:v>
                </c:pt>
                <c:pt idx="1">
                  <c:v>8994</c:v>
                </c:pt>
                <c:pt idx="2">
                  <c:v>20767</c:v>
                </c:pt>
                <c:pt idx="3">
                  <c:v>41895</c:v>
                </c:pt>
                <c:pt idx="4">
                  <c:v>54405</c:v>
                </c:pt>
                <c:pt idx="5">
                  <c:v>68284</c:v>
                </c:pt>
                <c:pt idx="6">
                  <c:v>80862</c:v>
                </c:pt>
                <c:pt idx="7">
                  <c:v>93653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A-6A8A-4AAC-8FCB-73C53B7AFD98}"/>
            </c:ext>
          </c:extLst>
        </c:ser>
        <c:dLbls/>
        <c:marker val="1"/>
        <c:axId val="195250048"/>
        <c:axId val="195251584"/>
      </c:lineChart>
      <c:catAx>
        <c:axId val="195250048"/>
        <c:scaling>
          <c:orientation val="minMax"/>
        </c:scaling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251584"/>
        <c:crosses val="autoZero"/>
        <c:auto val="1"/>
        <c:lblAlgn val="ctr"/>
        <c:lblOffset val="100"/>
      </c:catAx>
      <c:valAx>
        <c:axId val="195251584"/>
        <c:scaling>
          <c:orientation val="minMax"/>
        </c:scaling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250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rgbClr val="FEE2D3">
        <a:alpha val="20000"/>
      </a:srgbClr>
    </a:solidFill>
    <a:ln w="9525" cap="flat" cmpd="sng" algn="ctr">
      <a:solidFill>
        <a:schemeClr val="tx1">
          <a:lumMod val="50000"/>
          <a:lumOff val="50000"/>
          <a:alpha val="20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5"/>
  <c:chart>
    <c:title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none" baseline="0">
              <a:solidFill>
                <a:srgbClr val="56C5FF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plotArea>
      <c:layout/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Average No. of bids received</c:v>
                </c:pt>
              </c:strCache>
            </c:strRef>
          </c:tx>
          <c:spPr>
            <a:ln w="22225" cap="rnd">
              <a:solidFill>
                <a:schemeClr val="accent3"/>
              </a:solidFill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0-6A8A-4AAC-8FCB-73C53B7AFD98}"/>
              </c:ext>
            </c:extLst>
          </c:dPt>
          <c:dPt>
            <c:idx val="4"/>
            <c:extLst xmlns:c16r2="http://schemas.microsoft.com/office/drawing/2015/06/chart">
              <c:ext xmlns:c16="http://schemas.microsoft.com/office/drawing/2014/chart" uri="{C3380CC4-5D6E-409C-BE32-E72D297353CC}">
                <c16:uniqueId val="{00000001-6A8A-4AAC-8FCB-73C53B7AFD98}"/>
              </c:ext>
            </c:extLst>
          </c:dPt>
          <c:dPt>
            <c:idx val="6"/>
            <c:extLst xmlns:c16r2="http://schemas.microsoft.com/office/drawing/2015/06/chart">
              <c:ext xmlns:c16="http://schemas.microsoft.com/office/drawing/2014/chart" uri="{C3380CC4-5D6E-409C-BE32-E72D297353CC}">
                <c16:uniqueId val="{00000002-6A8A-4AAC-8FCB-73C53B7AFD98}"/>
              </c:ext>
            </c:extLst>
          </c:dPt>
          <c:dPt>
            <c:idx val="8"/>
            <c:extLst xmlns:c16r2="http://schemas.microsoft.com/office/drawing/2015/06/chart">
              <c:ext xmlns:c16="http://schemas.microsoft.com/office/drawing/2014/chart" uri="{C3380CC4-5D6E-409C-BE32-E72D297353CC}">
                <c16:uniqueId val="{00000003-6A8A-4AAC-8FCB-73C53B7AFD98}"/>
              </c:ext>
            </c:extLst>
          </c:dPt>
          <c:dLbls>
            <c:dLbl>
              <c:idx val="0"/>
              <c:layout>
                <c:manualLayout>
                  <c:x val="-3.2891616777264862E-2"/>
                  <c:y val="-7.5630604186288697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3319726449798062E-2"/>
                  <c:y val="-8.8077545423984979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5888880373629599E-2"/>
                  <c:y val="-8.6521677769272956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5935426283900751E-2"/>
                  <c:y val="-7.874233949571267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0984361475764527E-2"/>
                  <c:y val="-8.0298207150424711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6830054457588102E-2"/>
                  <c:y val="-7.251886887686447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1144127776976454E-2"/>
                  <c:y val="-6.007192763916808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2.7406074184939413E-2"/>
                  <c:y val="-6.007192763916808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3.0780483626659076E-2"/>
                  <c:y val="-6.7851265912728331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Manual Tendering </c:v>
                </c:pt>
                <c:pt idx="1">
                  <c:v>2011-12</c:v>
                </c:pt>
                <c:pt idx="2">
                  <c:v>2012-13</c:v>
                </c:pt>
                <c:pt idx="3">
                  <c:v>2013-14</c:v>
                </c:pt>
                <c:pt idx="4">
                  <c:v>2014-15</c:v>
                </c:pt>
                <c:pt idx="5">
                  <c:v>2015-16</c:v>
                </c:pt>
                <c:pt idx="6">
                  <c:v>2016-17</c:v>
                </c:pt>
                <c:pt idx="7">
                  <c:v>2017-18</c:v>
                </c:pt>
                <c:pt idx="8">
                  <c:v>2018 - 19 (till Sept'2018)</c:v>
                </c:pt>
              </c:strCache>
            </c:strRef>
          </c:cat>
          <c:val>
            <c:numRef>
              <c:f>Sheet1!$B$2:$B$10</c:f>
              <c:numCache>
                <c:formatCode>0.00</c:formatCode>
                <c:ptCount val="9"/>
                <c:pt idx="0">
                  <c:v>1.9800000000000002</c:v>
                </c:pt>
                <c:pt idx="1">
                  <c:v>4.7699999999999996</c:v>
                </c:pt>
                <c:pt idx="2">
                  <c:v>5.07</c:v>
                </c:pt>
                <c:pt idx="3">
                  <c:v>5.4</c:v>
                </c:pt>
                <c:pt idx="4">
                  <c:v>5.92</c:v>
                </c:pt>
                <c:pt idx="5">
                  <c:v>5.83</c:v>
                </c:pt>
                <c:pt idx="6">
                  <c:v>6.1499999999999995</c:v>
                </c:pt>
                <c:pt idx="7">
                  <c:v>6.25</c:v>
                </c:pt>
                <c:pt idx="8">
                  <c:v>6.08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A-6A8A-4AAC-8FCB-73C53B7AFD98}"/>
            </c:ext>
          </c:extLst>
        </c:ser>
        <c:dLbls/>
        <c:marker val="1"/>
        <c:axId val="197763456"/>
        <c:axId val="197764992"/>
      </c:lineChart>
      <c:catAx>
        <c:axId val="197763456"/>
        <c:scaling>
          <c:orientation val="minMax"/>
        </c:scaling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764992"/>
        <c:crosses val="autoZero"/>
        <c:auto val="1"/>
        <c:lblAlgn val="ctr"/>
        <c:lblOffset val="100"/>
      </c:catAx>
      <c:valAx>
        <c:axId val="197764992"/>
        <c:scaling>
          <c:orientation val="minMax"/>
        </c:scaling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7634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rgbClr val="FEE2D3">
        <a:alpha val="20000"/>
      </a:srgbClr>
    </a:solidFill>
    <a:ln w="9525" cap="flat" cmpd="sng" algn="ctr">
      <a:solidFill>
        <a:schemeClr val="tx1">
          <a:lumMod val="50000"/>
          <a:lumOff val="50000"/>
          <a:alpha val="34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5"/>
  <c:chart>
    <c:title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none" baseline="0">
              <a:solidFill>
                <a:srgbClr val="56C5FF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plotArea>
      <c:layout/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Average Lead time</c:v>
                </c:pt>
              </c:strCache>
            </c:strRef>
          </c:tx>
          <c:spPr>
            <a:ln w="22225" cap="rnd">
              <a:solidFill>
                <a:schemeClr val="accent3"/>
              </a:solidFill>
            </a:ln>
            <a:effectLst>
              <a:glow rad="139700">
                <a:schemeClr val="accent3">
                  <a:satMod val="175000"/>
                  <a:alpha val="14000"/>
                </a:schemeClr>
              </a:glow>
            </a:effectLst>
          </c:spPr>
          <c:marker>
            <c:symbol val="none"/>
          </c:marker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0-6A8A-4AAC-8FCB-73C53B7AFD98}"/>
              </c:ext>
            </c:extLst>
          </c:dPt>
          <c:dPt>
            <c:idx val="4"/>
            <c:extLst xmlns:c16r2="http://schemas.microsoft.com/office/drawing/2015/06/chart">
              <c:ext xmlns:c16="http://schemas.microsoft.com/office/drawing/2014/chart" uri="{C3380CC4-5D6E-409C-BE32-E72D297353CC}">
                <c16:uniqueId val="{00000001-6A8A-4AAC-8FCB-73C53B7AFD98}"/>
              </c:ext>
            </c:extLst>
          </c:dPt>
          <c:dPt>
            <c:idx val="6"/>
            <c:extLst xmlns:c16r2="http://schemas.microsoft.com/office/drawing/2015/06/chart">
              <c:ext xmlns:c16="http://schemas.microsoft.com/office/drawing/2014/chart" uri="{C3380CC4-5D6E-409C-BE32-E72D297353CC}">
                <c16:uniqueId val="{00000002-6A8A-4AAC-8FCB-73C53B7AFD98}"/>
              </c:ext>
            </c:extLst>
          </c:dPt>
          <c:dLbls>
            <c:dLbl>
              <c:idx val="0"/>
              <c:layout>
                <c:manualLayout>
                  <c:x val="-3.2891616777264862E-2"/>
                  <c:y val="-7.5630604186288697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3319726449798062E-2"/>
                  <c:y val="-8.8077545423984979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5888880373629599E-2"/>
                  <c:y val="-8.6521677769272956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5935426283900751E-2"/>
                  <c:y val="-7.874233949571267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0984361475764527E-2"/>
                  <c:y val="-8.0298207150424711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2.6830054457588102E-2"/>
                  <c:y val="-7.251886887686447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2.1144127776976454E-2"/>
                  <c:y val="-6.007192763916808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2.7406074184939413E-2"/>
                  <c:y val="-6.007192763916808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l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50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  <c:pt idx="4">
                  <c:v>2015-16</c:v>
                </c:pt>
                <c:pt idx="5">
                  <c:v>2016-17</c:v>
                </c:pt>
                <c:pt idx="6">
                  <c:v>2017-18</c:v>
                </c:pt>
                <c:pt idx="7">
                  <c:v>2018-19 (Till Dec'2018)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28</c:v>
                </c:pt>
                <c:pt idx="1">
                  <c:v>108</c:v>
                </c:pt>
                <c:pt idx="2">
                  <c:v>95</c:v>
                </c:pt>
                <c:pt idx="3">
                  <c:v>89</c:v>
                </c:pt>
                <c:pt idx="4">
                  <c:v>89</c:v>
                </c:pt>
                <c:pt idx="5">
                  <c:v>91</c:v>
                </c:pt>
                <c:pt idx="6">
                  <c:v>83</c:v>
                </c:pt>
                <c:pt idx="7">
                  <c:v>73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A-6A8A-4AAC-8FCB-73C53B7AFD98}"/>
            </c:ext>
          </c:extLst>
        </c:ser>
        <c:dLbls/>
        <c:marker val="1"/>
        <c:axId val="201995008"/>
        <c:axId val="201996544"/>
      </c:lineChart>
      <c:catAx>
        <c:axId val="201995008"/>
        <c:scaling>
          <c:orientation val="minMax"/>
        </c:scaling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996544"/>
        <c:crosses val="autoZero"/>
        <c:auto val="1"/>
        <c:lblAlgn val="ctr"/>
        <c:lblOffset val="100"/>
      </c:catAx>
      <c:valAx>
        <c:axId val="201996544"/>
        <c:scaling>
          <c:orientation val="minMax"/>
        </c:scaling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75000"/>
                      <a:lumOff val="25000"/>
                    </a:schemeClr>
                  </a:gs>
                  <a:gs pos="0">
                    <a:schemeClr val="dk1">
                      <a:lumMod val="65000"/>
                      <a:lumOff val="3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99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rgbClr val="FEE2D3">
        <a:alpha val="20000"/>
      </a:srgbClr>
    </a:solidFill>
    <a:ln w="9525" cap="flat" cmpd="sng" algn="ctr">
      <a:solidFill>
        <a:schemeClr val="tx1">
          <a:lumMod val="50000"/>
          <a:lumOff val="50000"/>
          <a:alpha val="34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plotArea>
      <c:layout/>
      <c:barChart>
        <c:barDir val="col"/>
        <c:grouping val="clustered"/>
        <c:ser>
          <c:idx val="0"/>
          <c:order val="0"/>
          <c:tx>
            <c:strRef>
              <c:f>'Green Savings'!$E$4</c:f>
              <c:strCache>
                <c:ptCount val="1"/>
                <c:pt idx="0">
                  <c:v>Reams Saved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0"/>
              </c:ext>
            </c:extLst>
          </c:dLbls>
          <c:cat>
            <c:strRef>
              <c:f>'Green Savings'!$B$5:$B$12</c:f>
              <c:strCache>
                <c:ptCount val="8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  <c:pt idx="4">
                  <c:v>2015-16</c:v>
                </c:pt>
                <c:pt idx="5">
                  <c:v>2016-17</c:v>
                </c:pt>
                <c:pt idx="6">
                  <c:v>2017-18</c:v>
                </c:pt>
                <c:pt idx="7">
                  <c:v>2018-19 (Till Dec'2018)</c:v>
                </c:pt>
              </c:strCache>
            </c:strRef>
          </c:cat>
          <c:val>
            <c:numRef>
              <c:f>'Green Savings'!$E$5:$E$12</c:f>
              <c:numCache>
                <c:formatCode>0</c:formatCode>
                <c:ptCount val="8"/>
                <c:pt idx="0">
                  <c:v>264.75</c:v>
                </c:pt>
                <c:pt idx="1">
                  <c:v>11857.27</c:v>
                </c:pt>
                <c:pt idx="2">
                  <c:v>29471.97</c:v>
                </c:pt>
                <c:pt idx="3">
                  <c:v>40337.310000000005</c:v>
                </c:pt>
                <c:pt idx="4">
                  <c:v>52434.619999999995</c:v>
                </c:pt>
                <c:pt idx="5">
                  <c:v>66699.350000000006</c:v>
                </c:pt>
                <c:pt idx="6">
                  <c:v>72107.31</c:v>
                </c:pt>
                <c:pt idx="7">
                  <c:v>54506.729999999996</c:v>
                </c:pt>
              </c:numCache>
            </c:numRef>
          </c:val>
        </c:ser>
        <c:dLbls/>
        <c:gapWidth val="100"/>
        <c:overlap val="-24"/>
        <c:axId val="160691712"/>
        <c:axId val="160693248"/>
      </c:barChart>
      <c:catAx>
        <c:axId val="16069171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693248"/>
        <c:crosses val="autoZero"/>
        <c:auto val="1"/>
        <c:lblAlgn val="ctr"/>
        <c:lblOffset val="100"/>
      </c:catAx>
      <c:valAx>
        <c:axId val="16069324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691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chemeClr val="bg1">
        <a:alpha val="20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plotArea>
      <c:layout/>
      <c:barChart>
        <c:barDir val="col"/>
        <c:grouping val="clustered"/>
        <c:ser>
          <c:idx val="0"/>
          <c:order val="0"/>
          <c:tx>
            <c:strRef>
              <c:f>'Green Savings'!$F$4</c:f>
              <c:strCache>
                <c:ptCount val="1"/>
                <c:pt idx="0">
                  <c:v>Trees Saved</c:v>
                </c:pt>
              </c:strCache>
            </c:strRef>
          </c:tx>
          <c:spPr>
            <a:blipFill dpi="0" rotWithShape="1">
              <a:blip xmlns:r="http://schemas.openxmlformats.org/officeDocument/2006/relationships" r:embed="rId1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0"/>
              </c:ext>
            </c:extLst>
          </c:dLbls>
          <c:cat>
            <c:strRef>
              <c:f>'Green Savings'!$B$5:$B$12</c:f>
              <c:strCache>
                <c:ptCount val="8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  <c:pt idx="4">
                  <c:v>2015-16</c:v>
                </c:pt>
                <c:pt idx="5">
                  <c:v>2016-17</c:v>
                </c:pt>
                <c:pt idx="6">
                  <c:v>2017-18</c:v>
                </c:pt>
                <c:pt idx="7">
                  <c:v>2018-19 (Till Dec'2018)</c:v>
                </c:pt>
              </c:strCache>
            </c:strRef>
          </c:cat>
          <c:val>
            <c:numRef>
              <c:f>'Green Savings'!$F$5:$F$12</c:f>
              <c:numCache>
                <c:formatCode>0</c:formatCode>
                <c:ptCount val="8"/>
                <c:pt idx="0">
                  <c:v>15.573529411764708</c:v>
                </c:pt>
                <c:pt idx="1">
                  <c:v>697.48647058823542</c:v>
                </c:pt>
                <c:pt idx="2">
                  <c:v>1733.6452941176472</c:v>
                </c:pt>
                <c:pt idx="3">
                  <c:v>2372.7829411764701</c:v>
                </c:pt>
                <c:pt idx="4">
                  <c:v>3084.3894117647055</c:v>
                </c:pt>
                <c:pt idx="5">
                  <c:v>3923.4911764705898</c:v>
                </c:pt>
                <c:pt idx="6">
                  <c:v>4241.6064705882354</c:v>
                </c:pt>
                <c:pt idx="7">
                  <c:v>3206.2782352941172</c:v>
                </c:pt>
              </c:numCache>
            </c:numRef>
          </c:val>
        </c:ser>
        <c:dLbls/>
        <c:gapWidth val="100"/>
        <c:overlap val="-24"/>
        <c:axId val="160590464"/>
        <c:axId val="160616832"/>
      </c:barChart>
      <c:catAx>
        <c:axId val="16059046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616832"/>
        <c:crosses val="autoZero"/>
        <c:auto val="1"/>
        <c:lblAlgn val="ctr"/>
        <c:lblOffset val="100"/>
      </c:catAx>
      <c:valAx>
        <c:axId val="16061683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59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chemeClr val="bg1">
        <a:alpha val="20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100" baseline="0">
              <a:solidFill>
                <a:schemeClr val="lt1">
                  <a:lumMod val="95000"/>
                </a:schemeClr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latin typeface="+mn-lt"/>
              <a:ea typeface="+mn-ea"/>
              <a:cs typeface="+mn-cs"/>
            </a:defRPr>
          </a:pPr>
          <a:endParaRPr lang="en-US"/>
        </a:p>
      </c:txPr>
    </c:title>
    <c:plotArea>
      <c:layout/>
      <c:barChart>
        <c:barDir val="col"/>
        <c:grouping val="clustered"/>
        <c:ser>
          <c:idx val="0"/>
          <c:order val="0"/>
          <c:tx>
            <c:strRef>
              <c:f>'Green Savings'!$G$4</c:f>
              <c:strCache>
                <c:ptCount val="1"/>
                <c:pt idx="0">
                  <c:v>Prevented CO2 release in Atmosphere (in Pounds)</c:v>
                </c:pt>
              </c:strCache>
            </c:strRef>
          </c:tx>
          <c:spPr>
            <a:blipFill dpi="0" rotWithShape="1">
              <a:blip xmlns:r="http://schemas.openxmlformats.org/officeDocument/2006/relationships" r:embed="rId1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0"/>
              </c:ext>
            </c:extLst>
          </c:dLbls>
          <c:cat>
            <c:strRef>
              <c:f>'Green Savings'!$B$5:$B$12</c:f>
              <c:strCache>
                <c:ptCount val="8"/>
                <c:pt idx="0">
                  <c:v>2011-12</c:v>
                </c:pt>
                <c:pt idx="1">
                  <c:v>2012-13</c:v>
                </c:pt>
                <c:pt idx="2">
                  <c:v>2013-14</c:v>
                </c:pt>
                <c:pt idx="3">
                  <c:v>2014-15</c:v>
                </c:pt>
                <c:pt idx="4">
                  <c:v>2015-16</c:v>
                </c:pt>
                <c:pt idx="5">
                  <c:v>2016-17</c:v>
                </c:pt>
                <c:pt idx="6">
                  <c:v>2017-18</c:v>
                </c:pt>
                <c:pt idx="7">
                  <c:v>2018-19 (Till Dec'2018)</c:v>
                </c:pt>
              </c:strCache>
            </c:strRef>
          </c:cat>
          <c:val>
            <c:numRef>
              <c:f>'Green Savings'!$G$5:$G$12</c:f>
              <c:numCache>
                <c:formatCode>0</c:formatCode>
                <c:ptCount val="8"/>
                <c:pt idx="0">
                  <c:v>1713.0882352941178</c:v>
                </c:pt>
                <c:pt idx="1">
                  <c:v>76723.511764705894</c:v>
                </c:pt>
                <c:pt idx="2">
                  <c:v>190700.98235294115</c:v>
                </c:pt>
                <c:pt idx="3">
                  <c:v>261006.12352941177</c:v>
                </c:pt>
                <c:pt idx="4">
                  <c:v>339282.83529411769</c:v>
                </c:pt>
                <c:pt idx="5">
                  <c:v>431584.02941176487</c:v>
                </c:pt>
                <c:pt idx="6">
                  <c:v>466576.71176470589</c:v>
                </c:pt>
                <c:pt idx="7">
                  <c:v>352690.60588235286</c:v>
                </c:pt>
              </c:numCache>
            </c:numRef>
          </c:val>
        </c:ser>
        <c:dLbls/>
        <c:gapWidth val="100"/>
        <c:overlap val="-24"/>
        <c:axId val="160854016"/>
        <c:axId val="160855552"/>
      </c:barChart>
      <c:catAx>
        <c:axId val="1608540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lt1">
                <a:lumMod val="95000"/>
                <a:alpha val="5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855552"/>
        <c:crosses val="autoZero"/>
        <c:auto val="1"/>
        <c:lblAlgn val="ctr"/>
        <c:lblOffset val="100"/>
      </c:catAx>
      <c:valAx>
        <c:axId val="16085555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854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solidFill>
      <a:schemeClr val="bg1">
        <a:alpha val="20000"/>
      </a:schemeClr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2"/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3">
  <a:schemeClr val="accent3"/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3">
  <a:schemeClr val="accent3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1197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>
        <a:lumMod val="75000"/>
      </a:schemeClr>
    </cs:fontRef>
    <cs:defRPr sz="1197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862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1197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>
        <a:lumMod val="75000"/>
      </a:schemeClr>
    </cs:fontRef>
    <cs:defRPr sz="1197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862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1197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>
        <a:lumMod val="75000"/>
      </a:schemeClr>
    </cs:fontRef>
    <cs:defRPr sz="1197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862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1197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>
        <a:lumMod val="75000"/>
      </a:schemeClr>
    </cs:fontRef>
    <cs:defRPr sz="1197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862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36">
  <cs:axisTitle>
    <cs:lnRef idx="0"/>
    <cs:fillRef idx="0"/>
    <cs:effectRef idx="0"/>
    <cs:fontRef idx="minor">
      <a:schemeClr val="lt1">
        <a:lumMod val="75000"/>
      </a:schemeClr>
    </cs:fontRef>
    <cs:defRPr sz="1197" b="1" kern="1200"/>
  </cs:axisTitle>
  <cs:categoryAxis>
    <cs:lnRef idx="0"/>
    <cs:fillRef idx="0"/>
    <cs:effectRef idx="0"/>
    <cs:fontRef idx="minor">
      <a:schemeClr val="lt1">
        <a:lumMod val="7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>
        <a:lumMod val="75000"/>
      </a:schemeClr>
    </cs:fontRef>
    <cs:defRPr sz="1197" kern="1200"/>
  </cs:dataLabel>
  <cs:dataLabelCallout>
    <cs:lnRef idx="0"/>
    <cs:fillRef idx="0"/>
    <cs:effectRef idx="0"/>
    <cs:fontRef idx="minor">
      <a:schemeClr val="lt1">
        <a:lumMod val="15000"/>
        <a:lumOff val="85000"/>
      </a:schemeClr>
    </cs:fontRef>
    <cs:spPr>
      <a:solidFill>
        <a:schemeClr val="dk1">
          <a:lumMod val="65000"/>
          <a:lumOff val="3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9525" cap="flat" cmpd="sng" algn="ctr">
        <a:solidFill>
          <a:schemeClr val="phClr"/>
        </a:solidFill>
        <a:miter lim="800000"/>
      </a:ln>
      <a:effectLst>
        <a:glow rad="63500">
          <a:schemeClr val="phClr">
            <a:satMod val="175000"/>
            <a:alpha val="25000"/>
          </a:schemeClr>
        </a:glow>
      </a:effectLst>
    </cs:spPr>
  </cs:dataPoint3D>
  <cs:dataPointLine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ln w="22225" cap="rnd">
        <a:solidFill>
          <a:schemeClr val="phClr"/>
        </a:solidFill>
      </a:ln>
      <a:effectLst>
        <a:glow rad="139700">
          <a:schemeClr val="phClr">
            <a:satMod val="175000"/>
            <a:alpha val="14000"/>
          </a:schemeClr>
        </a:glow>
      </a:effectLst>
    </cs:spPr>
  </cs:dataPointLine>
  <cs:dataPointMarker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lumMod val="60000"/>
          <a:lumOff val="40000"/>
        </a:schemeClr>
      </a:solidFill>
      <a:effectLst>
        <a:glow rad="63500">
          <a:schemeClr val="phClr">
            <a:satMod val="175000"/>
            <a:alpha val="25000"/>
          </a:schemeClr>
        </a:glow>
      </a:effectLst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75000"/>
      </a:schemeClr>
    </cs:fontRef>
    <cs:spPr>
      <a:ln w="9525">
        <a:solidFill>
          <a:schemeClr val="dk1">
            <a:lumMod val="50000"/>
            <a:lumOff val="50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7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</a:schemeClr>
            </a:gs>
            <a:gs pos="0">
              <a:schemeClr val="dk1">
                <a:lumMod val="65000"/>
                <a:lumOff val="3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75000"/>
                <a:lumOff val="25000"/>
                <a:alpha val="25000"/>
              </a:schemeClr>
            </a:gs>
            <a:gs pos="0">
              <a:schemeClr val="dk1">
                <a:lumMod val="65000"/>
                <a:lumOff val="35000"/>
                <a:alpha val="2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leaderLine>
  <cs:legend>
    <cs:lnRef idx="0"/>
    <cs:fillRef idx="0"/>
    <cs:effectRef idx="0"/>
    <cs:fontRef idx="minor">
      <a:schemeClr val="lt1">
        <a:lumMod val="7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lt1">
        <a:lumMod val="7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lt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85000"/>
      </a:schemeClr>
    </cs:fontRef>
    <cs:defRPr sz="1862" b="1" kern="1200" cap="none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25400" cap="rnd">
        <a:solidFill>
          <a:schemeClr val="phClr">
            <a:alpha val="50000"/>
          </a:schemeClr>
        </a:solidFill>
      </a:ln>
    </cs:spPr>
  </cs:trendline>
  <cs:trendlineLabel>
    <cs:lnRef idx="0"/>
    <cs:fillRef idx="0"/>
    <cs:effectRef idx="0"/>
    <cs:fontRef idx="minor">
      <a:schemeClr val="lt1">
        <a:lumMod val="7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85000"/>
        </a:schemeClr>
      </a:solidFill>
      <a:ln w="9525">
        <a:solidFill>
          <a:schemeClr val="dk1">
            <a:lumMod val="50000"/>
          </a:schemeClr>
        </a:solidFill>
        <a:round/>
      </a:ln>
    </cs:spPr>
  </cs:upBar>
  <cs:valueAxis>
    <cs:lnRef idx="0"/>
    <cs:fillRef idx="0"/>
    <cs:effectRef idx="0"/>
    <cs:fontRef idx="minor">
      <a:schemeClr val="lt1">
        <a:lumMod val="7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9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lt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lt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lt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lt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015532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1101569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826886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95223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361346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8127467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9893589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2434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icture Placeholder 122"/>
          <p:cNvSpPr>
            <a:spLocks noGrp="1"/>
          </p:cNvSpPr>
          <p:nvPr>
            <p:ph type="pic" sz="quarter" idx="14"/>
          </p:nvPr>
        </p:nvSpPr>
        <p:spPr>
          <a:xfrm>
            <a:off x="890219" y="5235555"/>
            <a:ext cx="810000" cy="81000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5" name="Picture Placeholder 122"/>
          <p:cNvSpPr>
            <a:spLocks noGrp="1"/>
          </p:cNvSpPr>
          <p:nvPr>
            <p:ph type="pic" sz="quarter" idx="15"/>
          </p:nvPr>
        </p:nvSpPr>
        <p:spPr>
          <a:xfrm>
            <a:off x="2800355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6" name="Picture Placeholder 122"/>
          <p:cNvSpPr>
            <a:spLocks noGrp="1"/>
          </p:cNvSpPr>
          <p:nvPr>
            <p:ph type="pic" sz="quarter" idx="16"/>
          </p:nvPr>
        </p:nvSpPr>
        <p:spPr>
          <a:xfrm>
            <a:off x="4727816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7" name="Picture Placeholder 122"/>
          <p:cNvSpPr>
            <a:spLocks noGrp="1"/>
          </p:cNvSpPr>
          <p:nvPr>
            <p:ph type="pic" sz="quarter" idx="17"/>
          </p:nvPr>
        </p:nvSpPr>
        <p:spPr>
          <a:xfrm>
            <a:off x="6637953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8" name="Picture Placeholder 122"/>
          <p:cNvSpPr>
            <a:spLocks noGrp="1"/>
          </p:cNvSpPr>
          <p:nvPr>
            <p:ph type="pic" sz="quarter" idx="18"/>
          </p:nvPr>
        </p:nvSpPr>
        <p:spPr>
          <a:xfrm>
            <a:off x="8565415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9" name="Picture Placeholder 122"/>
          <p:cNvSpPr>
            <a:spLocks noGrp="1"/>
          </p:cNvSpPr>
          <p:nvPr>
            <p:ph type="pic" sz="quarter" idx="19"/>
          </p:nvPr>
        </p:nvSpPr>
        <p:spPr>
          <a:xfrm>
            <a:off x="10475551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0" name="Picture Placeholder 122"/>
          <p:cNvSpPr>
            <a:spLocks noGrp="1"/>
          </p:cNvSpPr>
          <p:nvPr>
            <p:ph type="pic" sz="quarter" idx="11"/>
          </p:nvPr>
        </p:nvSpPr>
        <p:spPr>
          <a:xfrm>
            <a:off x="1709578" y="3238852"/>
            <a:ext cx="1080001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1" name="Picture Placeholder 122"/>
          <p:cNvSpPr>
            <a:spLocks noGrp="1"/>
          </p:cNvSpPr>
          <p:nvPr>
            <p:ph type="pic" sz="quarter" idx="12"/>
          </p:nvPr>
        </p:nvSpPr>
        <p:spPr>
          <a:xfrm>
            <a:off x="5547176" y="3238851"/>
            <a:ext cx="108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2" name="Picture Placeholder 122"/>
          <p:cNvSpPr>
            <a:spLocks noGrp="1"/>
          </p:cNvSpPr>
          <p:nvPr>
            <p:ph type="pic" sz="quarter" idx="13"/>
          </p:nvPr>
        </p:nvSpPr>
        <p:spPr>
          <a:xfrm>
            <a:off x="9384775" y="3238851"/>
            <a:ext cx="108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53" name="Picture Placeholder 122"/>
          <p:cNvSpPr>
            <a:spLocks noGrp="1"/>
          </p:cNvSpPr>
          <p:nvPr>
            <p:ph type="pic" sz="quarter" idx="10"/>
          </p:nvPr>
        </p:nvSpPr>
        <p:spPr>
          <a:xfrm>
            <a:off x="5410793" y="1012533"/>
            <a:ext cx="1312732" cy="13068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405355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84599" y="0"/>
            <a:ext cx="32893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718103" y="0"/>
            <a:ext cx="32893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41005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5491" y="1828800"/>
            <a:ext cx="8231744" cy="2895600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5490" y="4800600"/>
            <a:ext cx="8231744" cy="12192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cap="all" spc="20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xmlns="" val="3320649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21184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9891" y="2514600"/>
            <a:ext cx="8694663" cy="281940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48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5491" y="5410201"/>
            <a:ext cx="8689596" cy="60960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cap="all" spc="2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8518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5174" y="1905001"/>
            <a:ext cx="4420750" cy="41148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0806" y="1905001"/>
            <a:ext cx="4420751" cy="41148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208029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808" y="1905000"/>
            <a:ext cx="4417702" cy="762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0" cap="all" spc="2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22808" y="2743201"/>
            <a:ext cx="4417702" cy="3276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1489" y="1905000"/>
            <a:ext cx="4417702" cy="762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0" cap="all" spc="2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1489" y="2743201"/>
            <a:ext cx="4417702" cy="3276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74743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45320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827804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181601" y="2928597"/>
            <a:ext cx="2133601" cy="2130424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52420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879" y="1905000"/>
            <a:ext cx="3597544" cy="2667000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3600" b="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5491" y="4648200"/>
            <a:ext cx="3582332" cy="13716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2704" y="685800"/>
            <a:ext cx="6402467" cy="5334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90825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879" y="1905000"/>
            <a:ext cx="3597544" cy="266700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3600" b="0" i="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5491" y="4648200"/>
            <a:ext cx="3582332" cy="13716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 descr="An empty placeholder to add an image. Click on the placeholder and select the image that you wish to add."/>
          <p:cNvSpPr>
            <a:spLocks noGrp="1"/>
          </p:cNvSpPr>
          <p:nvPr>
            <p:ph type="pic" idx="1"/>
          </p:nvPr>
        </p:nvSpPr>
        <p:spPr>
          <a:xfrm>
            <a:off x="4952704" y="685800"/>
            <a:ext cx="6402466" cy="5334000"/>
          </a:xfrm>
          <a:solidFill>
            <a:schemeClr val="bg2"/>
          </a:solidFill>
          <a:ln w="76200">
            <a:solidFill>
              <a:schemeClr val="tx1"/>
            </a:solidFill>
            <a:miter lim="800000"/>
          </a:ln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306723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7133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794" y="381001"/>
            <a:ext cx="1524398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22809" y="381001"/>
            <a:ext cx="7393324" cy="5638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0345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5491" y="1828800"/>
            <a:ext cx="8231744" cy="2895600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5490" y="4800600"/>
            <a:ext cx="8231744" cy="12192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cap="all" spc="20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xmlns="" val="3354128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47154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9891" y="2514600"/>
            <a:ext cx="8694663" cy="281940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48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5491" y="5410201"/>
            <a:ext cx="8689596" cy="60960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cap="all" spc="2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50346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5174" y="1905001"/>
            <a:ext cx="4420750" cy="41148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0806" y="1905001"/>
            <a:ext cx="4420751" cy="41148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7798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808" y="1905000"/>
            <a:ext cx="4417702" cy="762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0" cap="all" spc="2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22808" y="2743201"/>
            <a:ext cx="4417702" cy="3276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1489" y="1905000"/>
            <a:ext cx="4417702" cy="762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0" cap="all" spc="2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1489" y="2743201"/>
            <a:ext cx="4417702" cy="3276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15132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0794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7371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45285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24320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879" y="1905000"/>
            <a:ext cx="3597544" cy="2667000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3600" b="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5491" y="4648200"/>
            <a:ext cx="3582332" cy="13716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2704" y="685800"/>
            <a:ext cx="6402467" cy="5334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8949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879" y="1905000"/>
            <a:ext cx="3597544" cy="266700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3600" b="0" i="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5491" y="4648200"/>
            <a:ext cx="3582332" cy="13716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 descr="An empty placeholder to add an image. Click on the placeholder and select the image that you wish to add."/>
          <p:cNvSpPr>
            <a:spLocks noGrp="1"/>
          </p:cNvSpPr>
          <p:nvPr>
            <p:ph type="pic" idx="1"/>
          </p:nvPr>
        </p:nvSpPr>
        <p:spPr>
          <a:xfrm>
            <a:off x="4952704" y="685800"/>
            <a:ext cx="6402466" cy="5334000"/>
          </a:xfrm>
          <a:solidFill>
            <a:schemeClr val="bg2"/>
          </a:solidFill>
          <a:ln w="76200">
            <a:solidFill>
              <a:schemeClr val="tx1"/>
            </a:solidFill>
            <a:miter lim="800000"/>
          </a:ln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14673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45847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794" y="381001"/>
            <a:ext cx="1524398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22809" y="381001"/>
            <a:ext cx="7393324" cy="5638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6478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5491" y="1828800"/>
            <a:ext cx="8231744" cy="2895600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5490" y="4800600"/>
            <a:ext cx="8231744" cy="12192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cap="all" spc="200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xmlns="" val="4148986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1172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9891" y="2514600"/>
            <a:ext cx="8694663" cy="2819400"/>
          </a:xfrm>
        </p:spPr>
        <p:txBody>
          <a:bodyPr anchor="b">
            <a:normAutofit/>
          </a:bodyPr>
          <a:lstStyle>
            <a:lvl1pPr algn="l">
              <a:lnSpc>
                <a:spcPct val="80000"/>
              </a:lnSpc>
              <a:defRPr sz="4800" b="0" cap="none" baseline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5491" y="5410201"/>
            <a:ext cx="8689596" cy="609601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cap="all" spc="2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76721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5174" y="1905001"/>
            <a:ext cx="4420750" cy="41148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0806" y="1905001"/>
            <a:ext cx="4420751" cy="41148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2659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808" y="1905000"/>
            <a:ext cx="4417702" cy="762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0" cap="all" spc="2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22808" y="2743201"/>
            <a:ext cx="4417702" cy="3276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1489" y="1905000"/>
            <a:ext cx="4417702" cy="762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000" b="0" cap="all" spc="200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1489" y="2743201"/>
            <a:ext cx="4417702" cy="3276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43270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1101569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826886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95223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361346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7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8127467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9893589" y="4092577"/>
            <a:ext cx="1162207" cy="1162049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06141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43142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44511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879" y="1905000"/>
            <a:ext cx="3597544" cy="2667000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3600" b="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5491" y="4648200"/>
            <a:ext cx="3582332" cy="13716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2704" y="685800"/>
            <a:ext cx="6402467" cy="53340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182429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879" y="1905000"/>
            <a:ext cx="3597544" cy="266700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3600" b="0" i="0"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65491" y="4648200"/>
            <a:ext cx="3582332" cy="13716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12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 descr="An empty placeholder to add an image. Click on the placeholder and select the image that you wish to add."/>
          <p:cNvSpPr>
            <a:spLocks noGrp="1"/>
          </p:cNvSpPr>
          <p:nvPr>
            <p:ph type="pic" idx="1"/>
          </p:nvPr>
        </p:nvSpPr>
        <p:spPr>
          <a:xfrm>
            <a:off x="4952704" y="685800"/>
            <a:ext cx="6402466" cy="5334000"/>
          </a:xfrm>
          <a:solidFill>
            <a:schemeClr val="bg2"/>
          </a:solidFill>
          <a:ln w="76200">
            <a:solidFill>
              <a:schemeClr val="tx1"/>
            </a:solidFill>
            <a:miter lim="800000"/>
          </a:ln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458660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40974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794" y="381001"/>
            <a:ext cx="1524398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22809" y="381001"/>
            <a:ext cx="7393324" cy="5638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F41C87-7AD9-4845-A077-840E4A0F3F06}" type="datetimeFigureOut">
              <a:rPr lang="en-US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13F82-EE5E-44EE-A61D-E31C6657F26F}" type="slidenum">
              <a:rPr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09423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" name="Picture Placeholder 122"/>
          <p:cNvSpPr>
            <a:spLocks noGrp="1"/>
          </p:cNvSpPr>
          <p:nvPr>
            <p:ph type="pic" sz="quarter" idx="14"/>
          </p:nvPr>
        </p:nvSpPr>
        <p:spPr>
          <a:xfrm>
            <a:off x="890219" y="5235555"/>
            <a:ext cx="810000" cy="81000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45" name="Picture Placeholder 122"/>
          <p:cNvSpPr>
            <a:spLocks noGrp="1"/>
          </p:cNvSpPr>
          <p:nvPr>
            <p:ph type="pic" sz="quarter" idx="15"/>
          </p:nvPr>
        </p:nvSpPr>
        <p:spPr>
          <a:xfrm>
            <a:off x="2800355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6" name="Picture Placeholder 122"/>
          <p:cNvSpPr>
            <a:spLocks noGrp="1"/>
          </p:cNvSpPr>
          <p:nvPr>
            <p:ph type="pic" sz="quarter" idx="16"/>
          </p:nvPr>
        </p:nvSpPr>
        <p:spPr>
          <a:xfrm>
            <a:off x="4727816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7" name="Picture Placeholder 122"/>
          <p:cNvSpPr>
            <a:spLocks noGrp="1"/>
          </p:cNvSpPr>
          <p:nvPr>
            <p:ph type="pic" sz="quarter" idx="17"/>
          </p:nvPr>
        </p:nvSpPr>
        <p:spPr>
          <a:xfrm>
            <a:off x="6637953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8" name="Picture Placeholder 122"/>
          <p:cNvSpPr>
            <a:spLocks noGrp="1"/>
          </p:cNvSpPr>
          <p:nvPr>
            <p:ph type="pic" sz="quarter" idx="18"/>
          </p:nvPr>
        </p:nvSpPr>
        <p:spPr>
          <a:xfrm>
            <a:off x="8565415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49" name="Picture Placeholder 122"/>
          <p:cNvSpPr>
            <a:spLocks noGrp="1"/>
          </p:cNvSpPr>
          <p:nvPr>
            <p:ph type="pic" sz="quarter" idx="19"/>
          </p:nvPr>
        </p:nvSpPr>
        <p:spPr>
          <a:xfrm>
            <a:off x="10475551" y="5234135"/>
            <a:ext cx="810000" cy="811420"/>
          </a:xfrm>
          <a:prstGeom prst="ellipse">
            <a:avLst/>
          </a:prstGeom>
          <a:effectLst/>
        </p:spPr>
        <p:txBody>
          <a:bodyPr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0" name="Picture Placeholder 122"/>
          <p:cNvSpPr>
            <a:spLocks noGrp="1"/>
          </p:cNvSpPr>
          <p:nvPr>
            <p:ph type="pic" sz="quarter" idx="11"/>
          </p:nvPr>
        </p:nvSpPr>
        <p:spPr>
          <a:xfrm>
            <a:off x="1709578" y="3238852"/>
            <a:ext cx="1080001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1" name="Picture Placeholder 122"/>
          <p:cNvSpPr>
            <a:spLocks noGrp="1"/>
          </p:cNvSpPr>
          <p:nvPr>
            <p:ph type="pic" sz="quarter" idx="12"/>
          </p:nvPr>
        </p:nvSpPr>
        <p:spPr>
          <a:xfrm>
            <a:off x="5547176" y="3238851"/>
            <a:ext cx="108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52" name="Picture Placeholder 122"/>
          <p:cNvSpPr>
            <a:spLocks noGrp="1"/>
          </p:cNvSpPr>
          <p:nvPr>
            <p:ph type="pic" sz="quarter" idx="13"/>
          </p:nvPr>
        </p:nvSpPr>
        <p:spPr>
          <a:xfrm>
            <a:off x="9384775" y="3238851"/>
            <a:ext cx="1080000" cy="10800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153" name="Picture Placeholder 122"/>
          <p:cNvSpPr>
            <a:spLocks noGrp="1"/>
          </p:cNvSpPr>
          <p:nvPr>
            <p:ph type="pic" sz="quarter" idx="10"/>
          </p:nvPr>
        </p:nvSpPr>
        <p:spPr>
          <a:xfrm>
            <a:off x="5410793" y="1012533"/>
            <a:ext cx="1312732" cy="1306800"/>
          </a:xfrm>
          <a:prstGeom prst="ellipse">
            <a:avLst/>
          </a:prstGeom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82319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84599" y="0"/>
            <a:ext cx="32893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718103" y="0"/>
            <a:ext cx="32893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53139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48554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181601" y="2928597"/>
            <a:ext cx="2133601" cy="2130424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9634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7371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85535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8917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25FB85-5C0D-4BC5-880B-2628A82A4BC2}" type="datetimeFigureOut">
              <a:rPr lang="en-US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</a:rPr>
              <a:pPr/>
              <a:t>1/17/2019</a:t>
            </a:fld>
            <a:endParaRPr lang="en-US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A89730-4BA7-4A6E-9ADF-70FD5E03A14E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/>
                <a:sym typeface="Arial"/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6157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2810" y="381000"/>
            <a:ext cx="9146383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810" y="1904999"/>
            <a:ext cx="9136770" cy="4114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2810" y="6400800"/>
            <a:ext cx="6554906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8565" y="6400800"/>
            <a:ext cx="1449767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F41C87-7AD9-4845-A077-840E4A0F3F0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30772" y="6400800"/>
            <a:ext cx="838419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013F82-EE5E-44EE-A61D-E31C6657F26F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710339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3838" indent="-223838" algn="l" defTabSz="9144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SzPct val="100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231775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SzPct val="10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1907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7250" indent="-17462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173038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07008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80744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554480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728216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39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2810" y="381000"/>
            <a:ext cx="9146383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810" y="1904999"/>
            <a:ext cx="9136770" cy="4114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2810" y="6400800"/>
            <a:ext cx="6554906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8565" y="6400800"/>
            <a:ext cx="1449767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F41C87-7AD9-4845-A077-840E4A0F3F0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30772" y="6400800"/>
            <a:ext cx="838419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013F82-EE5E-44EE-A61D-E31C6657F26F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35478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3838" indent="-223838" algn="l" defTabSz="9144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SzPct val="100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231775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SzPct val="10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1907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7250" indent="-17462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173038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07008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80744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554480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728216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39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22810" y="381000"/>
            <a:ext cx="9146383" cy="13716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22810" y="1904999"/>
            <a:ext cx="9136770" cy="41148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22810" y="6400800"/>
            <a:ext cx="6554906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8565" y="6400800"/>
            <a:ext cx="1449767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F41C87-7AD9-4845-A077-840E4A0F3F06}" type="datetimeFigureOut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1/17/2019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830772" y="6400800"/>
            <a:ext cx="838419" cy="2762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013F82-EE5E-44EE-A61D-E31C6657F26F}" type="slidenum">
              <a:rPr lang="en-US" smtClean="0">
                <a:solidFill>
                  <a:prstClr val="white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8213307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3838" indent="-223838" algn="l" defTabSz="914400" rtl="0" eaLnBrk="1" latinLnBrk="0" hangingPunct="1">
        <a:lnSpc>
          <a:spcPct val="90000"/>
        </a:lnSpc>
        <a:spcBef>
          <a:spcPts val="1800"/>
        </a:spcBef>
        <a:buClr>
          <a:schemeClr val="accent1"/>
        </a:buClr>
        <a:buSzPct val="100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231775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SzPct val="100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1907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57250" indent="-174625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30288" indent="-173038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207008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80744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554480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728216" indent="-173736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39">
          <p15:clr>
            <a:srgbClr val="F26B43"/>
          </p15:clr>
        </p15:guide>
        <p15:guide id="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7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8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5" Type="http://schemas.openxmlformats.org/officeDocument/2006/relationships/image" Target="../media/image12.png"/><Relationship Id="rId15" Type="http://schemas.openxmlformats.org/officeDocument/2006/relationships/image" Target="../media/image20.png"/><Relationship Id="rId10" Type="http://schemas.openxmlformats.org/officeDocument/2006/relationships/image" Target="../media/image8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image" Target="../media/image8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tags" Target="../tags/tag6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slideLayout" Target="../slideLayouts/slideLayout26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8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slideLayout" Target="../slideLayouts/slideLayout26.xml"/><Relationship Id="rId5" Type="http://schemas.openxmlformats.org/officeDocument/2006/relationships/tags" Target="../tags/tag69.xml"/><Relationship Id="rId4" Type="http://schemas.openxmlformats.org/officeDocument/2006/relationships/tags" Target="../tags/tag6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70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image" Target="../media/image8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slideLayout" Target="../slideLayouts/slideLayout24.xml"/><Relationship Id="rId5" Type="http://schemas.openxmlformats.org/officeDocument/2006/relationships/tags" Target="../tags/tag75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319"/>
          <p:cNvSpPr/>
          <p:nvPr/>
        </p:nvSpPr>
        <p:spPr>
          <a:xfrm>
            <a:off x="2783805" y="816054"/>
            <a:ext cx="634841" cy="666337"/>
          </a:xfrm>
          <a:custGeom>
            <a:avLst/>
            <a:gdLst/>
            <a:ahLst/>
            <a:cxnLst/>
            <a:rect l="0" t="0" r="0" b="0"/>
            <a:pathLst>
              <a:path w="16863" h="18859" extrusionOk="0">
                <a:moveTo>
                  <a:pt x="7057" y="439"/>
                </a:moveTo>
                <a:lnTo>
                  <a:pt x="7178" y="463"/>
                </a:lnTo>
                <a:lnTo>
                  <a:pt x="7300" y="488"/>
                </a:lnTo>
                <a:lnTo>
                  <a:pt x="7543" y="488"/>
                </a:lnTo>
                <a:lnTo>
                  <a:pt x="8054" y="463"/>
                </a:lnTo>
                <a:lnTo>
                  <a:pt x="8809" y="463"/>
                </a:lnTo>
                <a:lnTo>
                  <a:pt x="9563" y="488"/>
                </a:lnTo>
                <a:lnTo>
                  <a:pt x="9563" y="707"/>
                </a:lnTo>
                <a:lnTo>
                  <a:pt x="9563" y="926"/>
                </a:lnTo>
                <a:lnTo>
                  <a:pt x="8882" y="926"/>
                </a:lnTo>
                <a:lnTo>
                  <a:pt x="8176" y="974"/>
                </a:lnTo>
                <a:lnTo>
                  <a:pt x="7349" y="974"/>
                </a:lnTo>
                <a:lnTo>
                  <a:pt x="7081" y="1023"/>
                </a:lnTo>
                <a:lnTo>
                  <a:pt x="7057" y="439"/>
                </a:lnTo>
                <a:close/>
                <a:moveTo>
                  <a:pt x="5670" y="3480"/>
                </a:moveTo>
                <a:lnTo>
                  <a:pt x="5865" y="3505"/>
                </a:lnTo>
                <a:lnTo>
                  <a:pt x="5670" y="3991"/>
                </a:lnTo>
                <a:lnTo>
                  <a:pt x="5670" y="3480"/>
                </a:lnTo>
                <a:close/>
                <a:moveTo>
                  <a:pt x="8906" y="3456"/>
                </a:moveTo>
                <a:lnTo>
                  <a:pt x="8638" y="3967"/>
                </a:lnTo>
                <a:lnTo>
                  <a:pt x="8541" y="4162"/>
                </a:lnTo>
                <a:lnTo>
                  <a:pt x="8468" y="4356"/>
                </a:lnTo>
                <a:lnTo>
                  <a:pt x="8444" y="4356"/>
                </a:lnTo>
                <a:lnTo>
                  <a:pt x="8395" y="4332"/>
                </a:lnTo>
                <a:lnTo>
                  <a:pt x="8346" y="4308"/>
                </a:lnTo>
                <a:lnTo>
                  <a:pt x="8225" y="4308"/>
                </a:lnTo>
                <a:lnTo>
                  <a:pt x="8006" y="4405"/>
                </a:lnTo>
                <a:lnTo>
                  <a:pt x="8079" y="4186"/>
                </a:lnTo>
                <a:lnTo>
                  <a:pt x="8225" y="3821"/>
                </a:lnTo>
                <a:lnTo>
                  <a:pt x="8346" y="3456"/>
                </a:lnTo>
                <a:close/>
                <a:moveTo>
                  <a:pt x="9587" y="3456"/>
                </a:moveTo>
                <a:lnTo>
                  <a:pt x="9247" y="4016"/>
                </a:lnTo>
                <a:lnTo>
                  <a:pt x="9101" y="4235"/>
                </a:lnTo>
                <a:lnTo>
                  <a:pt x="8979" y="4478"/>
                </a:lnTo>
                <a:lnTo>
                  <a:pt x="8736" y="4405"/>
                </a:lnTo>
                <a:lnTo>
                  <a:pt x="8833" y="4162"/>
                </a:lnTo>
                <a:lnTo>
                  <a:pt x="9101" y="3456"/>
                </a:lnTo>
                <a:close/>
                <a:moveTo>
                  <a:pt x="8152" y="3480"/>
                </a:moveTo>
                <a:lnTo>
                  <a:pt x="7981" y="3699"/>
                </a:lnTo>
                <a:lnTo>
                  <a:pt x="7811" y="3967"/>
                </a:lnTo>
                <a:lnTo>
                  <a:pt x="7665" y="4235"/>
                </a:lnTo>
                <a:lnTo>
                  <a:pt x="7616" y="4405"/>
                </a:lnTo>
                <a:lnTo>
                  <a:pt x="7568" y="4551"/>
                </a:lnTo>
                <a:lnTo>
                  <a:pt x="7373" y="4624"/>
                </a:lnTo>
                <a:lnTo>
                  <a:pt x="7422" y="4502"/>
                </a:lnTo>
                <a:lnTo>
                  <a:pt x="7616" y="4040"/>
                </a:lnTo>
                <a:lnTo>
                  <a:pt x="7787" y="3578"/>
                </a:lnTo>
                <a:lnTo>
                  <a:pt x="7787" y="3553"/>
                </a:lnTo>
                <a:lnTo>
                  <a:pt x="7762" y="3529"/>
                </a:lnTo>
                <a:lnTo>
                  <a:pt x="7714" y="3529"/>
                </a:lnTo>
                <a:lnTo>
                  <a:pt x="7689" y="3553"/>
                </a:lnTo>
                <a:lnTo>
                  <a:pt x="7325" y="4120"/>
                </a:lnTo>
                <a:lnTo>
                  <a:pt x="7568" y="3480"/>
                </a:lnTo>
                <a:close/>
                <a:moveTo>
                  <a:pt x="10269" y="3432"/>
                </a:moveTo>
                <a:lnTo>
                  <a:pt x="9831" y="4137"/>
                </a:lnTo>
                <a:lnTo>
                  <a:pt x="9660" y="4405"/>
                </a:lnTo>
                <a:lnTo>
                  <a:pt x="9514" y="4673"/>
                </a:lnTo>
                <a:lnTo>
                  <a:pt x="9271" y="4575"/>
                </a:lnTo>
                <a:lnTo>
                  <a:pt x="9466" y="4137"/>
                </a:lnTo>
                <a:lnTo>
                  <a:pt x="9758" y="3432"/>
                </a:lnTo>
                <a:close/>
                <a:moveTo>
                  <a:pt x="10780" y="3432"/>
                </a:moveTo>
                <a:lnTo>
                  <a:pt x="10463" y="3918"/>
                </a:lnTo>
                <a:lnTo>
                  <a:pt x="10171" y="4429"/>
                </a:lnTo>
                <a:lnTo>
                  <a:pt x="9928" y="4843"/>
                </a:lnTo>
                <a:lnTo>
                  <a:pt x="9758" y="4770"/>
                </a:lnTo>
                <a:lnTo>
                  <a:pt x="9904" y="4502"/>
                </a:lnTo>
                <a:lnTo>
                  <a:pt x="10001" y="4235"/>
                </a:lnTo>
                <a:lnTo>
                  <a:pt x="10366" y="3432"/>
                </a:lnTo>
                <a:close/>
                <a:moveTo>
                  <a:pt x="7324" y="3480"/>
                </a:moveTo>
                <a:lnTo>
                  <a:pt x="6935" y="4162"/>
                </a:lnTo>
                <a:lnTo>
                  <a:pt x="6740" y="4551"/>
                </a:lnTo>
                <a:lnTo>
                  <a:pt x="6643" y="4721"/>
                </a:lnTo>
                <a:lnTo>
                  <a:pt x="6594" y="4916"/>
                </a:lnTo>
                <a:lnTo>
                  <a:pt x="6303" y="5038"/>
                </a:lnTo>
                <a:lnTo>
                  <a:pt x="6424" y="4697"/>
                </a:lnTo>
                <a:lnTo>
                  <a:pt x="6546" y="4381"/>
                </a:lnTo>
                <a:lnTo>
                  <a:pt x="6692" y="3943"/>
                </a:lnTo>
                <a:lnTo>
                  <a:pt x="6838" y="3480"/>
                </a:lnTo>
                <a:close/>
                <a:moveTo>
                  <a:pt x="10926" y="3432"/>
                </a:moveTo>
                <a:lnTo>
                  <a:pt x="10901" y="3772"/>
                </a:lnTo>
                <a:lnTo>
                  <a:pt x="10877" y="4137"/>
                </a:lnTo>
                <a:lnTo>
                  <a:pt x="10609" y="4673"/>
                </a:lnTo>
                <a:lnTo>
                  <a:pt x="10439" y="5062"/>
                </a:lnTo>
                <a:lnTo>
                  <a:pt x="10244" y="4965"/>
                </a:lnTo>
                <a:lnTo>
                  <a:pt x="10366" y="4697"/>
                </a:lnTo>
                <a:lnTo>
                  <a:pt x="10488" y="4429"/>
                </a:lnTo>
                <a:lnTo>
                  <a:pt x="10707" y="3943"/>
                </a:lnTo>
                <a:lnTo>
                  <a:pt x="10901" y="3432"/>
                </a:lnTo>
                <a:close/>
                <a:moveTo>
                  <a:pt x="3845" y="4989"/>
                </a:moveTo>
                <a:lnTo>
                  <a:pt x="4015" y="5013"/>
                </a:lnTo>
                <a:lnTo>
                  <a:pt x="3894" y="5232"/>
                </a:lnTo>
                <a:lnTo>
                  <a:pt x="3869" y="5111"/>
                </a:lnTo>
                <a:lnTo>
                  <a:pt x="3845" y="4989"/>
                </a:lnTo>
                <a:close/>
                <a:moveTo>
                  <a:pt x="10901" y="4575"/>
                </a:moveTo>
                <a:lnTo>
                  <a:pt x="10901" y="4746"/>
                </a:lnTo>
                <a:lnTo>
                  <a:pt x="10926" y="4819"/>
                </a:lnTo>
                <a:lnTo>
                  <a:pt x="10974" y="4892"/>
                </a:lnTo>
                <a:lnTo>
                  <a:pt x="11023" y="4916"/>
                </a:lnTo>
                <a:lnTo>
                  <a:pt x="11072" y="4965"/>
                </a:lnTo>
                <a:lnTo>
                  <a:pt x="10999" y="5159"/>
                </a:lnTo>
                <a:lnTo>
                  <a:pt x="10950" y="5257"/>
                </a:lnTo>
                <a:lnTo>
                  <a:pt x="10682" y="5135"/>
                </a:lnTo>
                <a:lnTo>
                  <a:pt x="10828" y="4770"/>
                </a:lnTo>
                <a:lnTo>
                  <a:pt x="10901" y="4575"/>
                </a:lnTo>
                <a:close/>
                <a:moveTo>
                  <a:pt x="12215" y="5013"/>
                </a:moveTo>
                <a:lnTo>
                  <a:pt x="12021" y="5305"/>
                </a:lnTo>
                <a:lnTo>
                  <a:pt x="12142" y="5013"/>
                </a:lnTo>
                <a:close/>
                <a:moveTo>
                  <a:pt x="6643" y="3505"/>
                </a:moveTo>
                <a:lnTo>
                  <a:pt x="6351" y="4137"/>
                </a:lnTo>
                <a:lnTo>
                  <a:pt x="6132" y="4648"/>
                </a:lnTo>
                <a:lnTo>
                  <a:pt x="6035" y="4892"/>
                </a:lnTo>
                <a:lnTo>
                  <a:pt x="5962" y="5159"/>
                </a:lnTo>
                <a:lnTo>
                  <a:pt x="5183" y="5451"/>
                </a:lnTo>
                <a:lnTo>
                  <a:pt x="5183" y="5427"/>
                </a:lnTo>
                <a:lnTo>
                  <a:pt x="5354" y="4989"/>
                </a:lnTo>
                <a:lnTo>
                  <a:pt x="5402" y="4989"/>
                </a:lnTo>
                <a:lnTo>
                  <a:pt x="5378" y="5184"/>
                </a:lnTo>
                <a:lnTo>
                  <a:pt x="5378" y="5208"/>
                </a:lnTo>
                <a:lnTo>
                  <a:pt x="5402" y="5257"/>
                </a:lnTo>
                <a:lnTo>
                  <a:pt x="5475" y="5281"/>
                </a:lnTo>
                <a:lnTo>
                  <a:pt x="5548" y="5281"/>
                </a:lnTo>
                <a:lnTo>
                  <a:pt x="5573" y="5257"/>
                </a:lnTo>
                <a:lnTo>
                  <a:pt x="5597" y="5232"/>
                </a:lnTo>
                <a:lnTo>
                  <a:pt x="5694" y="5038"/>
                </a:lnTo>
                <a:lnTo>
                  <a:pt x="5767" y="4819"/>
                </a:lnTo>
                <a:lnTo>
                  <a:pt x="5889" y="4405"/>
                </a:lnTo>
                <a:lnTo>
                  <a:pt x="5986" y="3943"/>
                </a:lnTo>
                <a:lnTo>
                  <a:pt x="6059" y="3505"/>
                </a:lnTo>
                <a:close/>
                <a:moveTo>
                  <a:pt x="11315" y="4940"/>
                </a:moveTo>
                <a:lnTo>
                  <a:pt x="11558" y="4989"/>
                </a:lnTo>
                <a:lnTo>
                  <a:pt x="11850" y="5013"/>
                </a:lnTo>
                <a:lnTo>
                  <a:pt x="11558" y="5476"/>
                </a:lnTo>
                <a:lnTo>
                  <a:pt x="11145" y="5330"/>
                </a:lnTo>
                <a:lnTo>
                  <a:pt x="11169" y="5257"/>
                </a:lnTo>
                <a:lnTo>
                  <a:pt x="11242" y="4965"/>
                </a:lnTo>
                <a:lnTo>
                  <a:pt x="11291" y="4940"/>
                </a:lnTo>
                <a:close/>
                <a:moveTo>
                  <a:pt x="5086" y="5038"/>
                </a:moveTo>
                <a:lnTo>
                  <a:pt x="4940" y="5330"/>
                </a:lnTo>
                <a:lnTo>
                  <a:pt x="4891" y="5451"/>
                </a:lnTo>
                <a:lnTo>
                  <a:pt x="4843" y="5573"/>
                </a:lnTo>
                <a:lnTo>
                  <a:pt x="4818" y="5597"/>
                </a:lnTo>
                <a:lnTo>
                  <a:pt x="4697" y="5646"/>
                </a:lnTo>
                <a:lnTo>
                  <a:pt x="4697" y="5646"/>
                </a:lnTo>
                <a:lnTo>
                  <a:pt x="4721" y="5573"/>
                </a:lnTo>
                <a:lnTo>
                  <a:pt x="4794" y="5305"/>
                </a:lnTo>
                <a:lnTo>
                  <a:pt x="4843" y="5038"/>
                </a:lnTo>
                <a:close/>
                <a:moveTo>
                  <a:pt x="12702" y="4989"/>
                </a:moveTo>
                <a:lnTo>
                  <a:pt x="12678" y="5062"/>
                </a:lnTo>
                <a:lnTo>
                  <a:pt x="12653" y="5086"/>
                </a:lnTo>
                <a:lnTo>
                  <a:pt x="12459" y="5403"/>
                </a:lnTo>
                <a:lnTo>
                  <a:pt x="12361" y="5573"/>
                </a:lnTo>
                <a:lnTo>
                  <a:pt x="12288" y="5743"/>
                </a:lnTo>
                <a:lnTo>
                  <a:pt x="12167" y="5719"/>
                </a:lnTo>
                <a:lnTo>
                  <a:pt x="12288" y="5451"/>
                </a:lnTo>
                <a:lnTo>
                  <a:pt x="12386" y="5232"/>
                </a:lnTo>
                <a:lnTo>
                  <a:pt x="12483" y="5013"/>
                </a:lnTo>
                <a:lnTo>
                  <a:pt x="12702" y="4989"/>
                </a:lnTo>
                <a:close/>
                <a:moveTo>
                  <a:pt x="4672" y="5038"/>
                </a:moveTo>
                <a:lnTo>
                  <a:pt x="4478" y="5403"/>
                </a:lnTo>
                <a:lnTo>
                  <a:pt x="4380" y="5597"/>
                </a:lnTo>
                <a:lnTo>
                  <a:pt x="4332" y="5695"/>
                </a:lnTo>
                <a:lnTo>
                  <a:pt x="4307" y="5792"/>
                </a:lnTo>
                <a:lnTo>
                  <a:pt x="4113" y="5865"/>
                </a:lnTo>
                <a:lnTo>
                  <a:pt x="4210" y="5427"/>
                </a:lnTo>
                <a:lnTo>
                  <a:pt x="4307" y="5232"/>
                </a:lnTo>
                <a:lnTo>
                  <a:pt x="4405" y="5038"/>
                </a:lnTo>
                <a:close/>
                <a:moveTo>
                  <a:pt x="12605" y="5719"/>
                </a:moveTo>
                <a:lnTo>
                  <a:pt x="12605" y="5865"/>
                </a:lnTo>
                <a:lnTo>
                  <a:pt x="12532" y="5841"/>
                </a:lnTo>
                <a:lnTo>
                  <a:pt x="12605" y="5719"/>
                </a:lnTo>
                <a:close/>
                <a:moveTo>
                  <a:pt x="7081" y="1339"/>
                </a:moveTo>
                <a:lnTo>
                  <a:pt x="7349" y="1388"/>
                </a:lnTo>
                <a:lnTo>
                  <a:pt x="8176" y="1388"/>
                </a:lnTo>
                <a:lnTo>
                  <a:pt x="8882" y="1412"/>
                </a:lnTo>
                <a:lnTo>
                  <a:pt x="9222" y="1412"/>
                </a:lnTo>
                <a:lnTo>
                  <a:pt x="9587" y="1388"/>
                </a:lnTo>
                <a:lnTo>
                  <a:pt x="9587" y="1656"/>
                </a:lnTo>
                <a:lnTo>
                  <a:pt x="9612" y="1923"/>
                </a:lnTo>
                <a:lnTo>
                  <a:pt x="9636" y="2167"/>
                </a:lnTo>
                <a:lnTo>
                  <a:pt x="9709" y="2410"/>
                </a:lnTo>
                <a:lnTo>
                  <a:pt x="9758" y="2483"/>
                </a:lnTo>
                <a:lnTo>
                  <a:pt x="9831" y="2507"/>
                </a:lnTo>
                <a:lnTo>
                  <a:pt x="9977" y="2507"/>
                </a:lnTo>
                <a:lnTo>
                  <a:pt x="10098" y="2556"/>
                </a:lnTo>
                <a:lnTo>
                  <a:pt x="10269" y="2580"/>
                </a:lnTo>
                <a:lnTo>
                  <a:pt x="10585" y="2580"/>
                </a:lnTo>
                <a:lnTo>
                  <a:pt x="11218" y="2605"/>
                </a:lnTo>
                <a:lnTo>
                  <a:pt x="11875" y="2629"/>
                </a:lnTo>
                <a:lnTo>
                  <a:pt x="11875" y="3164"/>
                </a:lnTo>
                <a:lnTo>
                  <a:pt x="11875" y="3578"/>
                </a:lnTo>
                <a:lnTo>
                  <a:pt x="11875" y="3772"/>
                </a:lnTo>
                <a:lnTo>
                  <a:pt x="11923" y="3991"/>
                </a:lnTo>
                <a:lnTo>
                  <a:pt x="11948" y="4040"/>
                </a:lnTo>
                <a:lnTo>
                  <a:pt x="11972" y="4089"/>
                </a:lnTo>
                <a:lnTo>
                  <a:pt x="12069" y="4113"/>
                </a:lnTo>
                <a:lnTo>
                  <a:pt x="12215" y="4113"/>
                </a:lnTo>
                <a:lnTo>
                  <a:pt x="12264" y="4064"/>
                </a:lnTo>
                <a:lnTo>
                  <a:pt x="12605" y="4113"/>
                </a:lnTo>
                <a:lnTo>
                  <a:pt x="12945" y="4137"/>
                </a:lnTo>
                <a:lnTo>
                  <a:pt x="13602" y="4137"/>
                </a:lnTo>
                <a:lnTo>
                  <a:pt x="13602" y="4283"/>
                </a:lnTo>
                <a:lnTo>
                  <a:pt x="13602" y="4429"/>
                </a:lnTo>
                <a:lnTo>
                  <a:pt x="13627" y="4746"/>
                </a:lnTo>
                <a:lnTo>
                  <a:pt x="13627" y="5111"/>
                </a:lnTo>
                <a:lnTo>
                  <a:pt x="13602" y="5500"/>
                </a:lnTo>
                <a:lnTo>
                  <a:pt x="13602" y="5889"/>
                </a:lnTo>
                <a:lnTo>
                  <a:pt x="13627" y="6254"/>
                </a:lnTo>
                <a:lnTo>
                  <a:pt x="13335" y="6157"/>
                </a:lnTo>
                <a:lnTo>
                  <a:pt x="13043" y="6035"/>
                </a:lnTo>
                <a:lnTo>
                  <a:pt x="13067" y="5914"/>
                </a:lnTo>
                <a:lnTo>
                  <a:pt x="13067" y="5792"/>
                </a:lnTo>
                <a:lnTo>
                  <a:pt x="13067" y="5549"/>
                </a:lnTo>
                <a:lnTo>
                  <a:pt x="13067" y="5257"/>
                </a:lnTo>
                <a:lnTo>
                  <a:pt x="13067" y="5111"/>
                </a:lnTo>
                <a:lnTo>
                  <a:pt x="13043" y="4965"/>
                </a:lnTo>
                <a:lnTo>
                  <a:pt x="13018" y="4940"/>
                </a:lnTo>
                <a:lnTo>
                  <a:pt x="13091" y="4892"/>
                </a:lnTo>
                <a:lnTo>
                  <a:pt x="13140" y="4843"/>
                </a:lnTo>
                <a:lnTo>
                  <a:pt x="13164" y="4770"/>
                </a:lnTo>
                <a:lnTo>
                  <a:pt x="13164" y="4697"/>
                </a:lnTo>
                <a:lnTo>
                  <a:pt x="13140" y="4624"/>
                </a:lnTo>
                <a:lnTo>
                  <a:pt x="13091" y="4551"/>
                </a:lnTo>
                <a:lnTo>
                  <a:pt x="13018" y="4502"/>
                </a:lnTo>
                <a:lnTo>
                  <a:pt x="12945" y="4478"/>
                </a:lnTo>
                <a:lnTo>
                  <a:pt x="12556" y="4478"/>
                </a:lnTo>
                <a:lnTo>
                  <a:pt x="12142" y="4502"/>
                </a:lnTo>
                <a:lnTo>
                  <a:pt x="11777" y="4502"/>
                </a:lnTo>
                <a:lnTo>
                  <a:pt x="11388" y="4527"/>
                </a:lnTo>
                <a:lnTo>
                  <a:pt x="11388" y="3918"/>
                </a:lnTo>
                <a:lnTo>
                  <a:pt x="11388" y="3602"/>
                </a:lnTo>
                <a:lnTo>
                  <a:pt x="11364" y="3286"/>
                </a:lnTo>
                <a:lnTo>
                  <a:pt x="11315" y="3164"/>
                </a:lnTo>
                <a:lnTo>
                  <a:pt x="11291" y="3115"/>
                </a:lnTo>
                <a:lnTo>
                  <a:pt x="11242" y="3091"/>
                </a:lnTo>
                <a:lnTo>
                  <a:pt x="11193" y="3042"/>
                </a:lnTo>
                <a:lnTo>
                  <a:pt x="11169" y="2994"/>
                </a:lnTo>
                <a:lnTo>
                  <a:pt x="11096" y="2945"/>
                </a:lnTo>
                <a:lnTo>
                  <a:pt x="11023" y="2945"/>
                </a:lnTo>
                <a:lnTo>
                  <a:pt x="8152" y="2994"/>
                </a:lnTo>
                <a:lnTo>
                  <a:pt x="7738" y="2994"/>
                </a:lnTo>
                <a:lnTo>
                  <a:pt x="7714" y="2969"/>
                </a:lnTo>
                <a:lnTo>
                  <a:pt x="7665" y="2945"/>
                </a:lnTo>
                <a:lnTo>
                  <a:pt x="7641" y="2945"/>
                </a:lnTo>
                <a:lnTo>
                  <a:pt x="7592" y="2969"/>
                </a:lnTo>
                <a:lnTo>
                  <a:pt x="7592" y="2994"/>
                </a:lnTo>
                <a:lnTo>
                  <a:pt x="6813" y="3018"/>
                </a:lnTo>
                <a:lnTo>
                  <a:pt x="6181" y="3018"/>
                </a:lnTo>
                <a:lnTo>
                  <a:pt x="5865" y="3042"/>
                </a:lnTo>
                <a:lnTo>
                  <a:pt x="5548" y="3091"/>
                </a:lnTo>
                <a:lnTo>
                  <a:pt x="5500" y="3067"/>
                </a:lnTo>
                <a:lnTo>
                  <a:pt x="5378" y="3067"/>
                </a:lnTo>
                <a:lnTo>
                  <a:pt x="5329" y="3091"/>
                </a:lnTo>
                <a:lnTo>
                  <a:pt x="5281" y="3140"/>
                </a:lnTo>
                <a:lnTo>
                  <a:pt x="5232" y="3188"/>
                </a:lnTo>
                <a:lnTo>
                  <a:pt x="5208" y="3237"/>
                </a:lnTo>
                <a:lnTo>
                  <a:pt x="5183" y="3553"/>
                </a:lnTo>
                <a:lnTo>
                  <a:pt x="5159" y="3870"/>
                </a:lnTo>
                <a:lnTo>
                  <a:pt x="5135" y="4527"/>
                </a:lnTo>
                <a:lnTo>
                  <a:pt x="4867" y="4527"/>
                </a:lnTo>
                <a:lnTo>
                  <a:pt x="4599" y="4551"/>
                </a:lnTo>
                <a:lnTo>
                  <a:pt x="4186" y="4575"/>
                </a:lnTo>
                <a:lnTo>
                  <a:pt x="3967" y="4600"/>
                </a:lnTo>
                <a:lnTo>
                  <a:pt x="3772" y="4624"/>
                </a:lnTo>
                <a:lnTo>
                  <a:pt x="3699" y="4648"/>
                </a:lnTo>
                <a:lnTo>
                  <a:pt x="3650" y="4721"/>
                </a:lnTo>
                <a:lnTo>
                  <a:pt x="3650" y="4794"/>
                </a:lnTo>
                <a:lnTo>
                  <a:pt x="3650" y="4867"/>
                </a:lnTo>
                <a:lnTo>
                  <a:pt x="3626" y="4940"/>
                </a:lnTo>
                <a:lnTo>
                  <a:pt x="3602" y="5013"/>
                </a:lnTo>
                <a:lnTo>
                  <a:pt x="3577" y="5184"/>
                </a:lnTo>
                <a:lnTo>
                  <a:pt x="3577" y="5500"/>
                </a:lnTo>
                <a:lnTo>
                  <a:pt x="3577" y="5768"/>
                </a:lnTo>
                <a:lnTo>
                  <a:pt x="3577" y="5914"/>
                </a:lnTo>
                <a:lnTo>
                  <a:pt x="3626" y="6035"/>
                </a:lnTo>
                <a:lnTo>
                  <a:pt x="2993" y="6279"/>
                </a:lnTo>
                <a:lnTo>
                  <a:pt x="2993" y="6279"/>
                </a:lnTo>
                <a:lnTo>
                  <a:pt x="3042" y="5597"/>
                </a:lnTo>
                <a:lnTo>
                  <a:pt x="3066" y="4916"/>
                </a:lnTo>
                <a:lnTo>
                  <a:pt x="3115" y="4478"/>
                </a:lnTo>
                <a:lnTo>
                  <a:pt x="3115" y="4259"/>
                </a:lnTo>
                <a:lnTo>
                  <a:pt x="3091" y="4040"/>
                </a:lnTo>
                <a:lnTo>
                  <a:pt x="3456" y="4064"/>
                </a:lnTo>
                <a:lnTo>
                  <a:pt x="3845" y="4064"/>
                </a:lnTo>
                <a:lnTo>
                  <a:pt x="4210" y="4016"/>
                </a:lnTo>
                <a:lnTo>
                  <a:pt x="4575" y="3967"/>
                </a:lnTo>
                <a:lnTo>
                  <a:pt x="4624" y="3943"/>
                </a:lnTo>
                <a:lnTo>
                  <a:pt x="4672" y="3918"/>
                </a:lnTo>
                <a:lnTo>
                  <a:pt x="4745" y="3845"/>
                </a:lnTo>
                <a:lnTo>
                  <a:pt x="4770" y="3724"/>
                </a:lnTo>
                <a:lnTo>
                  <a:pt x="4745" y="3626"/>
                </a:lnTo>
                <a:lnTo>
                  <a:pt x="4770" y="3505"/>
                </a:lnTo>
                <a:lnTo>
                  <a:pt x="4770" y="3018"/>
                </a:lnTo>
                <a:lnTo>
                  <a:pt x="4770" y="2751"/>
                </a:lnTo>
                <a:lnTo>
                  <a:pt x="4745" y="2507"/>
                </a:lnTo>
                <a:lnTo>
                  <a:pt x="4867" y="2532"/>
                </a:lnTo>
                <a:lnTo>
                  <a:pt x="4989" y="2556"/>
                </a:lnTo>
                <a:lnTo>
                  <a:pt x="5256" y="2556"/>
                </a:lnTo>
                <a:lnTo>
                  <a:pt x="5646" y="2580"/>
                </a:lnTo>
                <a:lnTo>
                  <a:pt x="6035" y="2580"/>
                </a:lnTo>
                <a:lnTo>
                  <a:pt x="6789" y="2532"/>
                </a:lnTo>
                <a:lnTo>
                  <a:pt x="6886" y="2507"/>
                </a:lnTo>
                <a:lnTo>
                  <a:pt x="6959" y="2459"/>
                </a:lnTo>
                <a:lnTo>
                  <a:pt x="6984" y="2386"/>
                </a:lnTo>
                <a:lnTo>
                  <a:pt x="7008" y="2313"/>
                </a:lnTo>
                <a:lnTo>
                  <a:pt x="7032" y="2264"/>
                </a:lnTo>
                <a:lnTo>
                  <a:pt x="7057" y="1826"/>
                </a:lnTo>
                <a:lnTo>
                  <a:pt x="7081" y="1339"/>
                </a:lnTo>
                <a:close/>
                <a:moveTo>
                  <a:pt x="6911" y="5841"/>
                </a:moveTo>
                <a:lnTo>
                  <a:pt x="6838" y="5865"/>
                </a:lnTo>
                <a:lnTo>
                  <a:pt x="6716" y="5987"/>
                </a:lnTo>
                <a:lnTo>
                  <a:pt x="6619" y="6133"/>
                </a:lnTo>
                <a:lnTo>
                  <a:pt x="6546" y="6279"/>
                </a:lnTo>
                <a:lnTo>
                  <a:pt x="6522" y="6449"/>
                </a:lnTo>
                <a:lnTo>
                  <a:pt x="6522" y="6619"/>
                </a:lnTo>
                <a:lnTo>
                  <a:pt x="6546" y="6790"/>
                </a:lnTo>
                <a:lnTo>
                  <a:pt x="6594" y="6960"/>
                </a:lnTo>
                <a:lnTo>
                  <a:pt x="6667" y="7106"/>
                </a:lnTo>
                <a:lnTo>
                  <a:pt x="6716" y="7155"/>
                </a:lnTo>
                <a:lnTo>
                  <a:pt x="6765" y="7203"/>
                </a:lnTo>
                <a:lnTo>
                  <a:pt x="6838" y="7252"/>
                </a:lnTo>
                <a:lnTo>
                  <a:pt x="6911" y="7252"/>
                </a:lnTo>
                <a:lnTo>
                  <a:pt x="6984" y="7276"/>
                </a:lnTo>
                <a:lnTo>
                  <a:pt x="7057" y="7252"/>
                </a:lnTo>
                <a:lnTo>
                  <a:pt x="7130" y="7228"/>
                </a:lnTo>
                <a:lnTo>
                  <a:pt x="7178" y="7179"/>
                </a:lnTo>
                <a:lnTo>
                  <a:pt x="7349" y="6936"/>
                </a:lnTo>
                <a:lnTo>
                  <a:pt x="7397" y="6814"/>
                </a:lnTo>
                <a:lnTo>
                  <a:pt x="7446" y="6692"/>
                </a:lnTo>
                <a:lnTo>
                  <a:pt x="7470" y="6546"/>
                </a:lnTo>
                <a:lnTo>
                  <a:pt x="7470" y="6425"/>
                </a:lnTo>
                <a:lnTo>
                  <a:pt x="7446" y="6133"/>
                </a:lnTo>
                <a:lnTo>
                  <a:pt x="7422" y="6035"/>
                </a:lnTo>
                <a:lnTo>
                  <a:pt x="7349" y="5962"/>
                </a:lnTo>
                <a:lnTo>
                  <a:pt x="7227" y="5914"/>
                </a:lnTo>
                <a:lnTo>
                  <a:pt x="7130" y="5889"/>
                </a:lnTo>
                <a:lnTo>
                  <a:pt x="7057" y="5865"/>
                </a:lnTo>
                <a:lnTo>
                  <a:pt x="6984" y="5841"/>
                </a:lnTo>
                <a:close/>
                <a:moveTo>
                  <a:pt x="9612" y="5792"/>
                </a:moveTo>
                <a:lnTo>
                  <a:pt x="9539" y="5816"/>
                </a:lnTo>
                <a:lnTo>
                  <a:pt x="9466" y="5865"/>
                </a:lnTo>
                <a:lnTo>
                  <a:pt x="9393" y="5938"/>
                </a:lnTo>
                <a:lnTo>
                  <a:pt x="9344" y="6011"/>
                </a:lnTo>
                <a:lnTo>
                  <a:pt x="9247" y="6181"/>
                </a:lnTo>
                <a:lnTo>
                  <a:pt x="9174" y="6352"/>
                </a:lnTo>
                <a:lnTo>
                  <a:pt x="9149" y="6522"/>
                </a:lnTo>
                <a:lnTo>
                  <a:pt x="9149" y="6717"/>
                </a:lnTo>
                <a:lnTo>
                  <a:pt x="9174" y="6887"/>
                </a:lnTo>
                <a:lnTo>
                  <a:pt x="9222" y="7057"/>
                </a:lnTo>
                <a:lnTo>
                  <a:pt x="9271" y="7155"/>
                </a:lnTo>
                <a:lnTo>
                  <a:pt x="9344" y="7228"/>
                </a:lnTo>
                <a:lnTo>
                  <a:pt x="9417" y="7276"/>
                </a:lnTo>
                <a:lnTo>
                  <a:pt x="9514" y="7301"/>
                </a:lnTo>
                <a:lnTo>
                  <a:pt x="9685" y="7301"/>
                </a:lnTo>
                <a:lnTo>
                  <a:pt x="9782" y="7252"/>
                </a:lnTo>
                <a:lnTo>
                  <a:pt x="9855" y="7179"/>
                </a:lnTo>
                <a:lnTo>
                  <a:pt x="9928" y="7106"/>
                </a:lnTo>
                <a:lnTo>
                  <a:pt x="9977" y="7009"/>
                </a:lnTo>
                <a:lnTo>
                  <a:pt x="10050" y="6765"/>
                </a:lnTo>
                <a:lnTo>
                  <a:pt x="10098" y="6522"/>
                </a:lnTo>
                <a:lnTo>
                  <a:pt x="10098" y="6303"/>
                </a:lnTo>
                <a:lnTo>
                  <a:pt x="10098" y="6181"/>
                </a:lnTo>
                <a:lnTo>
                  <a:pt x="10050" y="6108"/>
                </a:lnTo>
                <a:lnTo>
                  <a:pt x="9977" y="6060"/>
                </a:lnTo>
                <a:lnTo>
                  <a:pt x="9879" y="6035"/>
                </a:lnTo>
                <a:lnTo>
                  <a:pt x="9879" y="6011"/>
                </a:lnTo>
                <a:lnTo>
                  <a:pt x="9855" y="5914"/>
                </a:lnTo>
                <a:lnTo>
                  <a:pt x="9806" y="5841"/>
                </a:lnTo>
                <a:lnTo>
                  <a:pt x="9709" y="5792"/>
                </a:lnTo>
                <a:close/>
                <a:moveTo>
                  <a:pt x="8468" y="4673"/>
                </a:moveTo>
                <a:lnTo>
                  <a:pt x="8687" y="4794"/>
                </a:lnTo>
                <a:lnTo>
                  <a:pt x="8930" y="4892"/>
                </a:lnTo>
                <a:lnTo>
                  <a:pt x="8955" y="4916"/>
                </a:lnTo>
                <a:lnTo>
                  <a:pt x="9466" y="5111"/>
                </a:lnTo>
                <a:lnTo>
                  <a:pt x="9806" y="5232"/>
                </a:lnTo>
                <a:lnTo>
                  <a:pt x="9806" y="5305"/>
                </a:lnTo>
                <a:lnTo>
                  <a:pt x="9806" y="5354"/>
                </a:lnTo>
                <a:lnTo>
                  <a:pt x="9855" y="5403"/>
                </a:lnTo>
                <a:lnTo>
                  <a:pt x="9904" y="5403"/>
                </a:lnTo>
                <a:lnTo>
                  <a:pt x="9952" y="5378"/>
                </a:lnTo>
                <a:lnTo>
                  <a:pt x="10001" y="5330"/>
                </a:lnTo>
                <a:lnTo>
                  <a:pt x="10707" y="5597"/>
                </a:lnTo>
                <a:lnTo>
                  <a:pt x="13383" y="6668"/>
                </a:lnTo>
                <a:lnTo>
                  <a:pt x="14040" y="6911"/>
                </a:lnTo>
                <a:lnTo>
                  <a:pt x="14357" y="7082"/>
                </a:lnTo>
                <a:lnTo>
                  <a:pt x="14527" y="7155"/>
                </a:lnTo>
                <a:lnTo>
                  <a:pt x="14648" y="7276"/>
                </a:lnTo>
                <a:lnTo>
                  <a:pt x="14794" y="7422"/>
                </a:lnTo>
                <a:lnTo>
                  <a:pt x="14843" y="7568"/>
                </a:lnTo>
                <a:lnTo>
                  <a:pt x="14892" y="7739"/>
                </a:lnTo>
                <a:lnTo>
                  <a:pt x="14867" y="7909"/>
                </a:lnTo>
                <a:lnTo>
                  <a:pt x="14405" y="7617"/>
                </a:lnTo>
                <a:lnTo>
                  <a:pt x="13919" y="7349"/>
                </a:lnTo>
                <a:lnTo>
                  <a:pt x="13675" y="7252"/>
                </a:lnTo>
                <a:lnTo>
                  <a:pt x="13408" y="7130"/>
                </a:lnTo>
                <a:lnTo>
                  <a:pt x="13164" y="7057"/>
                </a:lnTo>
                <a:lnTo>
                  <a:pt x="12872" y="7057"/>
                </a:lnTo>
                <a:lnTo>
                  <a:pt x="12848" y="7082"/>
                </a:lnTo>
                <a:lnTo>
                  <a:pt x="12848" y="7106"/>
                </a:lnTo>
                <a:lnTo>
                  <a:pt x="12848" y="7155"/>
                </a:lnTo>
                <a:lnTo>
                  <a:pt x="13043" y="7301"/>
                </a:lnTo>
                <a:lnTo>
                  <a:pt x="13262" y="7422"/>
                </a:lnTo>
                <a:lnTo>
                  <a:pt x="13724" y="7666"/>
                </a:lnTo>
                <a:lnTo>
                  <a:pt x="14259" y="7958"/>
                </a:lnTo>
                <a:lnTo>
                  <a:pt x="14770" y="8274"/>
                </a:lnTo>
                <a:lnTo>
                  <a:pt x="14697" y="8493"/>
                </a:lnTo>
                <a:lnTo>
                  <a:pt x="14575" y="8371"/>
                </a:lnTo>
                <a:lnTo>
                  <a:pt x="14454" y="8274"/>
                </a:lnTo>
                <a:lnTo>
                  <a:pt x="14284" y="8177"/>
                </a:lnTo>
                <a:lnTo>
                  <a:pt x="14113" y="8079"/>
                </a:lnTo>
                <a:lnTo>
                  <a:pt x="13773" y="7933"/>
                </a:lnTo>
                <a:lnTo>
                  <a:pt x="13383" y="7763"/>
                </a:lnTo>
                <a:lnTo>
                  <a:pt x="13189" y="7714"/>
                </a:lnTo>
                <a:lnTo>
                  <a:pt x="12994" y="7666"/>
                </a:lnTo>
                <a:lnTo>
                  <a:pt x="12799" y="7641"/>
                </a:lnTo>
                <a:lnTo>
                  <a:pt x="12605" y="7666"/>
                </a:lnTo>
                <a:lnTo>
                  <a:pt x="12580" y="7690"/>
                </a:lnTo>
                <a:lnTo>
                  <a:pt x="12605" y="7714"/>
                </a:lnTo>
                <a:lnTo>
                  <a:pt x="12702" y="7812"/>
                </a:lnTo>
                <a:lnTo>
                  <a:pt x="12824" y="7909"/>
                </a:lnTo>
                <a:lnTo>
                  <a:pt x="12945" y="7982"/>
                </a:lnTo>
                <a:lnTo>
                  <a:pt x="13091" y="8055"/>
                </a:lnTo>
                <a:lnTo>
                  <a:pt x="13383" y="8177"/>
                </a:lnTo>
                <a:lnTo>
                  <a:pt x="13651" y="8274"/>
                </a:lnTo>
                <a:lnTo>
                  <a:pt x="13894" y="8396"/>
                </a:lnTo>
                <a:lnTo>
                  <a:pt x="14113" y="8517"/>
                </a:lnTo>
                <a:lnTo>
                  <a:pt x="14551" y="8809"/>
                </a:lnTo>
                <a:lnTo>
                  <a:pt x="14430" y="9126"/>
                </a:lnTo>
                <a:lnTo>
                  <a:pt x="13967" y="8858"/>
                </a:lnTo>
                <a:lnTo>
                  <a:pt x="13481" y="8590"/>
                </a:lnTo>
                <a:lnTo>
                  <a:pt x="12921" y="8274"/>
                </a:lnTo>
                <a:lnTo>
                  <a:pt x="12629" y="8152"/>
                </a:lnTo>
                <a:lnTo>
                  <a:pt x="12337" y="8031"/>
                </a:lnTo>
                <a:lnTo>
                  <a:pt x="12313" y="8031"/>
                </a:lnTo>
                <a:lnTo>
                  <a:pt x="12288" y="8055"/>
                </a:lnTo>
                <a:lnTo>
                  <a:pt x="12288" y="8079"/>
                </a:lnTo>
                <a:lnTo>
                  <a:pt x="12288" y="8104"/>
                </a:lnTo>
                <a:lnTo>
                  <a:pt x="12507" y="8323"/>
                </a:lnTo>
                <a:lnTo>
                  <a:pt x="12751" y="8542"/>
                </a:lnTo>
                <a:lnTo>
                  <a:pt x="13018" y="8712"/>
                </a:lnTo>
                <a:lnTo>
                  <a:pt x="13286" y="8882"/>
                </a:lnTo>
                <a:lnTo>
                  <a:pt x="13797" y="9199"/>
                </a:lnTo>
                <a:lnTo>
                  <a:pt x="14040" y="9345"/>
                </a:lnTo>
                <a:lnTo>
                  <a:pt x="14308" y="9466"/>
                </a:lnTo>
                <a:lnTo>
                  <a:pt x="14211" y="9661"/>
                </a:lnTo>
                <a:lnTo>
                  <a:pt x="14065" y="9564"/>
                </a:lnTo>
                <a:lnTo>
                  <a:pt x="13919" y="9491"/>
                </a:lnTo>
                <a:lnTo>
                  <a:pt x="13602" y="9345"/>
                </a:lnTo>
                <a:lnTo>
                  <a:pt x="13359" y="9199"/>
                </a:lnTo>
                <a:lnTo>
                  <a:pt x="13067" y="9077"/>
                </a:lnTo>
                <a:lnTo>
                  <a:pt x="12921" y="9028"/>
                </a:lnTo>
                <a:lnTo>
                  <a:pt x="12775" y="9004"/>
                </a:lnTo>
                <a:lnTo>
                  <a:pt x="12629" y="8980"/>
                </a:lnTo>
                <a:lnTo>
                  <a:pt x="12483" y="8980"/>
                </a:lnTo>
                <a:lnTo>
                  <a:pt x="12459" y="9004"/>
                </a:lnTo>
                <a:lnTo>
                  <a:pt x="12459" y="9053"/>
                </a:lnTo>
                <a:lnTo>
                  <a:pt x="12556" y="9150"/>
                </a:lnTo>
                <a:lnTo>
                  <a:pt x="12653" y="9247"/>
                </a:lnTo>
                <a:lnTo>
                  <a:pt x="12897" y="9418"/>
                </a:lnTo>
                <a:lnTo>
                  <a:pt x="13408" y="9685"/>
                </a:lnTo>
                <a:lnTo>
                  <a:pt x="13724" y="9880"/>
                </a:lnTo>
                <a:lnTo>
                  <a:pt x="13894" y="10002"/>
                </a:lnTo>
                <a:lnTo>
                  <a:pt x="14065" y="10075"/>
                </a:lnTo>
                <a:lnTo>
                  <a:pt x="13967" y="10269"/>
                </a:lnTo>
                <a:lnTo>
                  <a:pt x="13505" y="10075"/>
                </a:lnTo>
                <a:lnTo>
                  <a:pt x="13043" y="9880"/>
                </a:lnTo>
                <a:lnTo>
                  <a:pt x="12556" y="9758"/>
                </a:lnTo>
                <a:lnTo>
                  <a:pt x="12069" y="9661"/>
                </a:lnTo>
                <a:lnTo>
                  <a:pt x="12045" y="9661"/>
                </a:lnTo>
                <a:lnTo>
                  <a:pt x="12045" y="9685"/>
                </a:lnTo>
                <a:lnTo>
                  <a:pt x="12434" y="10002"/>
                </a:lnTo>
                <a:lnTo>
                  <a:pt x="12872" y="10245"/>
                </a:lnTo>
                <a:lnTo>
                  <a:pt x="13335" y="10488"/>
                </a:lnTo>
                <a:lnTo>
                  <a:pt x="13797" y="10683"/>
                </a:lnTo>
                <a:lnTo>
                  <a:pt x="13627" y="11072"/>
                </a:lnTo>
                <a:lnTo>
                  <a:pt x="13456" y="10926"/>
                </a:lnTo>
                <a:lnTo>
                  <a:pt x="13262" y="10829"/>
                </a:lnTo>
                <a:lnTo>
                  <a:pt x="12848" y="10659"/>
                </a:lnTo>
                <a:lnTo>
                  <a:pt x="12653" y="10586"/>
                </a:lnTo>
                <a:lnTo>
                  <a:pt x="12483" y="10513"/>
                </a:lnTo>
                <a:lnTo>
                  <a:pt x="12288" y="10488"/>
                </a:lnTo>
                <a:lnTo>
                  <a:pt x="12069" y="10488"/>
                </a:lnTo>
                <a:lnTo>
                  <a:pt x="12045" y="10513"/>
                </a:lnTo>
                <a:lnTo>
                  <a:pt x="12045" y="10537"/>
                </a:lnTo>
                <a:lnTo>
                  <a:pt x="12118" y="10634"/>
                </a:lnTo>
                <a:lnTo>
                  <a:pt x="12191" y="10707"/>
                </a:lnTo>
                <a:lnTo>
                  <a:pt x="12337" y="10829"/>
                </a:lnTo>
                <a:lnTo>
                  <a:pt x="12532" y="10926"/>
                </a:lnTo>
                <a:lnTo>
                  <a:pt x="12702" y="11023"/>
                </a:lnTo>
                <a:lnTo>
                  <a:pt x="13091" y="11218"/>
                </a:lnTo>
                <a:lnTo>
                  <a:pt x="13310" y="11291"/>
                </a:lnTo>
                <a:lnTo>
                  <a:pt x="13505" y="11340"/>
                </a:lnTo>
                <a:lnTo>
                  <a:pt x="13481" y="11413"/>
                </a:lnTo>
                <a:lnTo>
                  <a:pt x="13335" y="11388"/>
                </a:lnTo>
                <a:lnTo>
                  <a:pt x="13189" y="11340"/>
                </a:lnTo>
                <a:lnTo>
                  <a:pt x="12897" y="11315"/>
                </a:lnTo>
                <a:lnTo>
                  <a:pt x="12678" y="11267"/>
                </a:lnTo>
                <a:lnTo>
                  <a:pt x="12434" y="11242"/>
                </a:lnTo>
                <a:lnTo>
                  <a:pt x="12191" y="11267"/>
                </a:lnTo>
                <a:lnTo>
                  <a:pt x="12069" y="11291"/>
                </a:lnTo>
                <a:lnTo>
                  <a:pt x="11972" y="11315"/>
                </a:lnTo>
                <a:lnTo>
                  <a:pt x="11948" y="11340"/>
                </a:lnTo>
                <a:lnTo>
                  <a:pt x="11948" y="11364"/>
                </a:lnTo>
                <a:lnTo>
                  <a:pt x="11972" y="11413"/>
                </a:lnTo>
                <a:lnTo>
                  <a:pt x="12069" y="11486"/>
                </a:lnTo>
                <a:lnTo>
                  <a:pt x="12191" y="11534"/>
                </a:lnTo>
                <a:lnTo>
                  <a:pt x="12434" y="11607"/>
                </a:lnTo>
                <a:lnTo>
                  <a:pt x="12921" y="11705"/>
                </a:lnTo>
                <a:lnTo>
                  <a:pt x="13164" y="11778"/>
                </a:lnTo>
                <a:lnTo>
                  <a:pt x="13432" y="11826"/>
                </a:lnTo>
                <a:lnTo>
                  <a:pt x="13408" y="11972"/>
                </a:lnTo>
                <a:lnTo>
                  <a:pt x="13018" y="11948"/>
                </a:lnTo>
                <a:lnTo>
                  <a:pt x="12434" y="11948"/>
                </a:lnTo>
                <a:lnTo>
                  <a:pt x="12313" y="11972"/>
                </a:lnTo>
                <a:lnTo>
                  <a:pt x="12215" y="12021"/>
                </a:lnTo>
                <a:lnTo>
                  <a:pt x="12118" y="12070"/>
                </a:lnTo>
                <a:lnTo>
                  <a:pt x="12118" y="12118"/>
                </a:lnTo>
                <a:lnTo>
                  <a:pt x="12118" y="12143"/>
                </a:lnTo>
                <a:lnTo>
                  <a:pt x="12215" y="12191"/>
                </a:lnTo>
                <a:lnTo>
                  <a:pt x="12313" y="12240"/>
                </a:lnTo>
                <a:lnTo>
                  <a:pt x="12507" y="12264"/>
                </a:lnTo>
                <a:lnTo>
                  <a:pt x="12897" y="12264"/>
                </a:lnTo>
                <a:lnTo>
                  <a:pt x="13383" y="12313"/>
                </a:lnTo>
                <a:lnTo>
                  <a:pt x="13383" y="12654"/>
                </a:lnTo>
                <a:lnTo>
                  <a:pt x="13043" y="12654"/>
                </a:lnTo>
                <a:lnTo>
                  <a:pt x="12678" y="12678"/>
                </a:lnTo>
                <a:lnTo>
                  <a:pt x="12288" y="12727"/>
                </a:lnTo>
                <a:lnTo>
                  <a:pt x="12094" y="12775"/>
                </a:lnTo>
                <a:lnTo>
                  <a:pt x="11923" y="12873"/>
                </a:lnTo>
                <a:lnTo>
                  <a:pt x="12118" y="12921"/>
                </a:lnTo>
                <a:lnTo>
                  <a:pt x="12288" y="12946"/>
                </a:lnTo>
                <a:lnTo>
                  <a:pt x="12678" y="12946"/>
                </a:lnTo>
                <a:lnTo>
                  <a:pt x="13408" y="12970"/>
                </a:lnTo>
                <a:lnTo>
                  <a:pt x="13408" y="13116"/>
                </a:lnTo>
                <a:lnTo>
                  <a:pt x="13408" y="13262"/>
                </a:lnTo>
                <a:lnTo>
                  <a:pt x="13140" y="13262"/>
                </a:lnTo>
                <a:lnTo>
                  <a:pt x="12848" y="13286"/>
                </a:lnTo>
                <a:lnTo>
                  <a:pt x="12337" y="13286"/>
                </a:lnTo>
                <a:lnTo>
                  <a:pt x="12069" y="13335"/>
                </a:lnTo>
                <a:lnTo>
                  <a:pt x="11948" y="13384"/>
                </a:lnTo>
                <a:lnTo>
                  <a:pt x="11850" y="13432"/>
                </a:lnTo>
                <a:lnTo>
                  <a:pt x="11826" y="13481"/>
                </a:lnTo>
                <a:lnTo>
                  <a:pt x="11850" y="13505"/>
                </a:lnTo>
                <a:lnTo>
                  <a:pt x="11948" y="13554"/>
                </a:lnTo>
                <a:lnTo>
                  <a:pt x="12069" y="13603"/>
                </a:lnTo>
                <a:lnTo>
                  <a:pt x="12337" y="13627"/>
                </a:lnTo>
                <a:lnTo>
                  <a:pt x="12605" y="13651"/>
                </a:lnTo>
                <a:lnTo>
                  <a:pt x="13432" y="13651"/>
                </a:lnTo>
                <a:lnTo>
                  <a:pt x="13432" y="13797"/>
                </a:lnTo>
                <a:lnTo>
                  <a:pt x="13286" y="13773"/>
                </a:lnTo>
                <a:lnTo>
                  <a:pt x="13164" y="13797"/>
                </a:lnTo>
                <a:lnTo>
                  <a:pt x="12897" y="13822"/>
                </a:lnTo>
                <a:lnTo>
                  <a:pt x="12483" y="13846"/>
                </a:lnTo>
                <a:lnTo>
                  <a:pt x="12288" y="13895"/>
                </a:lnTo>
                <a:lnTo>
                  <a:pt x="12094" y="13968"/>
                </a:lnTo>
                <a:lnTo>
                  <a:pt x="12094" y="13992"/>
                </a:lnTo>
                <a:lnTo>
                  <a:pt x="12094" y="14016"/>
                </a:lnTo>
                <a:lnTo>
                  <a:pt x="12118" y="14041"/>
                </a:lnTo>
                <a:lnTo>
                  <a:pt x="12313" y="14089"/>
                </a:lnTo>
                <a:lnTo>
                  <a:pt x="12507" y="14114"/>
                </a:lnTo>
                <a:lnTo>
                  <a:pt x="13310" y="14114"/>
                </a:lnTo>
                <a:lnTo>
                  <a:pt x="13432" y="14089"/>
                </a:lnTo>
                <a:lnTo>
                  <a:pt x="13456" y="14600"/>
                </a:lnTo>
                <a:lnTo>
                  <a:pt x="13237" y="14576"/>
                </a:lnTo>
                <a:lnTo>
                  <a:pt x="13018" y="14552"/>
                </a:lnTo>
                <a:lnTo>
                  <a:pt x="12824" y="14552"/>
                </a:lnTo>
                <a:lnTo>
                  <a:pt x="12434" y="14600"/>
                </a:lnTo>
                <a:lnTo>
                  <a:pt x="12045" y="14698"/>
                </a:lnTo>
                <a:lnTo>
                  <a:pt x="11656" y="14819"/>
                </a:lnTo>
                <a:lnTo>
                  <a:pt x="11193" y="14941"/>
                </a:lnTo>
                <a:lnTo>
                  <a:pt x="10974" y="14965"/>
                </a:lnTo>
                <a:lnTo>
                  <a:pt x="10755" y="14990"/>
                </a:lnTo>
                <a:lnTo>
                  <a:pt x="10536" y="14990"/>
                </a:lnTo>
                <a:lnTo>
                  <a:pt x="10317" y="14965"/>
                </a:lnTo>
                <a:lnTo>
                  <a:pt x="10098" y="14917"/>
                </a:lnTo>
                <a:lnTo>
                  <a:pt x="9879" y="14819"/>
                </a:lnTo>
                <a:lnTo>
                  <a:pt x="9514" y="14698"/>
                </a:lnTo>
                <a:lnTo>
                  <a:pt x="9149" y="14576"/>
                </a:lnTo>
                <a:lnTo>
                  <a:pt x="8979" y="14552"/>
                </a:lnTo>
                <a:lnTo>
                  <a:pt x="8809" y="14527"/>
                </a:lnTo>
                <a:lnTo>
                  <a:pt x="8614" y="14527"/>
                </a:lnTo>
                <a:lnTo>
                  <a:pt x="8419" y="14552"/>
                </a:lnTo>
                <a:lnTo>
                  <a:pt x="7981" y="14649"/>
                </a:lnTo>
                <a:lnTo>
                  <a:pt x="7568" y="14795"/>
                </a:lnTo>
                <a:lnTo>
                  <a:pt x="7130" y="14917"/>
                </a:lnTo>
                <a:lnTo>
                  <a:pt x="6935" y="14965"/>
                </a:lnTo>
                <a:lnTo>
                  <a:pt x="6692" y="14990"/>
                </a:lnTo>
                <a:lnTo>
                  <a:pt x="6473" y="14990"/>
                </a:lnTo>
                <a:lnTo>
                  <a:pt x="6230" y="14965"/>
                </a:lnTo>
                <a:lnTo>
                  <a:pt x="5986" y="14917"/>
                </a:lnTo>
                <a:lnTo>
                  <a:pt x="5767" y="14844"/>
                </a:lnTo>
                <a:lnTo>
                  <a:pt x="5281" y="14722"/>
                </a:lnTo>
                <a:lnTo>
                  <a:pt x="5062" y="14649"/>
                </a:lnTo>
                <a:lnTo>
                  <a:pt x="4818" y="14625"/>
                </a:lnTo>
                <a:lnTo>
                  <a:pt x="4453" y="14576"/>
                </a:lnTo>
                <a:lnTo>
                  <a:pt x="4040" y="14576"/>
                </a:lnTo>
                <a:lnTo>
                  <a:pt x="3602" y="14625"/>
                </a:lnTo>
                <a:lnTo>
                  <a:pt x="3164" y="14722"/>
                </a:lnTo>
                <a:lnTo>
                  <a:pt x="3188" y="14308"/>
                </a:lnTo>
                <a:lnTo>
                  <a:pt x="3188" y="13895"/>
                </a:lnTo>
                <a:lnTo>
                  <a:pt x="3164" y="13067"/>
                </a:lnTo>
                <a:lnTo>
                  <a:pt x="3164" y="12386"/>
                </a:lnTo>
                <a:lnTo>
                  <a:pt x="3139" y="12191"/>
                </a:lnTo>
                <a:lnTo>
                  <a:pt x="3115" y="12021"/>
                </a:lnTo>
                <a:lnTo>
                  <a:pt x="3066" y="11851"/>
                </a:lnTo>
                <a:lnTo>
                  <a:pt x="3018" y="11705"/>
                </a:lnTo>
                <a:lnTo>
                  <a:pt x="3018" y="11632"/>
                </a:lnTo>
                <a:lnTo>
                  <a:pt x="3018" y="11534"/>
                </a:lnTo>
                <a:lnTo>
                  <a:pt x="2993" y="11413"/>
                </a:lnTo>
                <a:lnTo>
                  <a:pt x="2896" y="11194"/>
                </a:lnTo>
                <a:lnTo>
                  <a:pt x="2701" y="10780"/>
                </a:lnTo>
                <a:lnTo>
                  <a:pt x="2409" y="10123"/>
                </a:lnTo>
                <a:lnTo>
                  <a:pt x="2142" y="9442"/>
                </a:lnTo>
                <a:lnTo>
                  <a:pt x="1947" y="8809"/>
                </a:lnTo>
                <a:lnTo>
                  <a:pt x="1777" y="8152"/>
                </a:lnTo>
                <a:lnTo>
                  <a:pt x="1728" y="7909"/>
                </a:lnTo>
                <a:lnTo>
                  <a:pt x="1704" y="7787"/>
                </a:lnTo>
                <a:lnTo>
                  <a:pt x="1704" y="7666"/>
                </a:lnTo>
                <a:lnTo>
                  <a:pt x="1704" y="7544"/>
                </a:lnTo>
                <a:lnTo>
                  <a:pt x="1752" y="7447"/>
                </a:lnTo>
                <a:lnTo>
                  <a:pt x="1825" y="7325"/>
                </a:lnTo>
                <a:lnTo>
                  <a:pt x="1923" y="7252"/>
                </a:lnTo>
                <a:lnTo>
                  <a:pt x="2093" y="7155"/>
                </a:lnTo>
                <a:lnTo>
                  <a:pt x="2288" y="7082"/>
                </a:lnTo>
                <a:lnTo>
                  <a:pt x="2653" y="6936"/>
                </a:lnTo>
                <a:lnTo>
                  <a:pt x="3991" y="6400"/>
                </a:lnTo>
                <a:lnTo>
                  <a:pt x="5329" y="5889"/>
                </a:lnTo>
                <a:lnTo>
                  <a:pt x="8030" y="4867"/>
                </a:lnTo>
                <a:lnTo>
                  <a:pt x="8030" y="5062"/>
                </a:lnTo>
                <a:lnTo>
                  <a:pt x="8030" y="5281"/>
                </a:lnTo>
                <a:lnTo>
                  <a:pt x="8030" y="5670"/>
                </a:lnTo>
                <a:lnTo>
                  <a:pt x="8030" y="7203"/>
                </a:lnTo>
                <a:lnTo>
                  <a:pt x="8030" y="8834"/>
                </a:lnTo>
                <a:lnTo>
                  <a:pt x="8054" y="9661"/>
                </a:lnTo>
                <a:lnTo>
                  <a:pt x="8079" y="10464"/>
                </a:lnTo>
                <a:lnTo>
                  <a:pt x="8103" y="10586"/>
                </a:lnTo>
                <a:lnTo>
                  <a:pt x="8152" y="10659"/>
                </a:lnTo>
                <a:lnTo>
                  <a:pt x="8249" y="10707"/>
                </a:lnTo>
                <a:lnTo>
                  <a:pt x="8346" y="10732"/>
                </a:lnTo>
                <a:lnTo>
                  <a:pt x="8444" y="10707"/>
                </a:lnTo>
                <a:lnTo>
                  <a:pt x="8517" y="10659"/>
                </a:lnTo>
                <a:lnTo>
                  <a:pt x="8565" y="10586"/>
                </a:lnTo>
                <a:lnTo>
                  <a:pt x="8590" y="10464"/>
                </a:lnTo>
                <a:lnTo>
                  <a:pt x="8517" y="8931"/>
                </a:lnTo>
                <a:lnTo>
                  <a:pt x="8468" y="7398"/>
                </a:lnTo>
                <a:lnTo>
                  <a:pt x="8444" y="5865"/>
                </a:lnTo>
                <a:lnTo>
                  <a:pt x="8444" y="5305"/>
                </a:lnTo>
                <a:lnTo>
                  <a:pt x="8444" y="5013"/>
                </a:lnTo>
                <a:lnTo>
                  <a:pt x="8395" y="4721"/>
                </a:lnTo>
                <a:lnTo>
                  <a:pt x="8468" y="4673"/>
                </a:lnTo>
                <a:close/>
                <a:moveTo>
                  <a:pt x="7446" y="1"/>
                </a:moveTo>
                <a:lnTo>
                  <a:pt x="7300" y="25"/>
                </a:lnTo>
                <a:lnTo>
                  <a:pt x="7154" y="50"/>
                </a:lnTo>
                <a:lnTo>
                  <a:pt x="7008" y="98"/>
                </a:lnTo>
                <a:lnTo>
                  <a:pt x="6911" y="196"/>
                </a:lnTo>
                <a:lnTo>
                  <a:pt x="6838" y="196"/>
                </a:lnTo>
                <a:lnTo>
                  <a:pt x="6765" y="244"/>
                </a:lnTo>
                <a:lnTo>
                  <a:pt x="6716" y="293"/>
                </a:lnTo>
                <a:lnTo>
                  <a:pt x="6716" y="317"/>
                </a:lnTo>
                <a:lnTo>
                  <a:pt x="6667" y="755"/>
                </a:lnTo>
                <a:lnTo>
                  <a:pt x="6619" y="1193"/>
                </a:lnTo>
                <a:lnTo>
                  <a:pt x="6594" y="1656"/>
                </a:lnTo>
                <a:lnTo>
                  <a:pt x="6594" y="2094"/>
                </a:lnTo>
                <a:lnTo>
                  <a:pt x="6011" y="2118"/>
                </a:lnTo>
                <a:lnTo>
                  <a:pt x="5427" y="2118"/>
                </a:lnTo>
                <a:lnTo>
                  <a:pt x="5013" y="2094"/>
                </a:lnTo>
                <a:lnTo>
                  <a:pt x="4794" y="2094"/>
                </a:lnTo>
                <a:lnTo>
                  <a:pt x="4697" y="2118"/>
                </a:lnTo>
                <a:lnTo>
                  <a:pt x="4624" y="2167"/>
                </a:lnTo>
                <a:lnTo>
                  <a:pt x="4575" y="2142"/>
                </a:lnTo>
                <a:lnTo>
                  <a:pt x="4526" y="2118"/>
                </a:lnTo>
                <a:lnTo>
                  <a:pt x="4405" y="2142"/>
                </a:lnTo>
                <a:lnTo>
                  <a:pt x="4332" y="2215"/>
                </a:lnTo>
                <a:lnTo>
                  <a:pt x="4307" y="2264"/>
                </a:lnTo>
                <a:lnTo>
                  <a:pt x="4283" y="2337"/>
                </a:lnTo>
                <a:lnTo>
                  <a:pt x="4259" y="2605"/>
                </a:lnTo>
                <a:lnTo>
                  <a:pt x="4259" y="2897"/>
                </a:lnTo>
                <a:lnTo>
                  <a:pt x="4259" y="3480"/>
                </a:lnTo>
                <a:lnTo>
                  <a:pt x="3602" y="3529"/>
                </a:lnTo>
                <a:lnTo>
                  <a:pt x="3261" y="3578"/>
                </a:lnTo>
                <a:lnTo>
                  <a:pt x="2920" y="3602"/>
                </a:lnTo>
                <a:lnTo>
                  <a:pt x="2872" y="3626"/>
                </a:lnTo>
                <a:lnTo>
                  <a:pt x="2823" y="3651"/>
                </a:lnTo>
                <a:lnTo>
                  <a:pt x="2774" y="3699"/>
                </a:lnTo>
                <a:lnTo>
                  <a:pt x="2701" y="3821"/>
                </a:lnTo>
                <a:lnTo>
                  <a:pt x="2653" y="3918"/>
                </a:lnTo>
                <a:lnTo>
                  <a:pt x="2604" y="4064"/>
                </a:lnTo>
                <a:lnTo>
                  <a:pt x="2604" y="4186"/>
                </a:lnTo>
                <a:lnTo>
                  <a:pt x="2580" y="4454"/>
                </a:lnTo>
                <a:lnTo>
                  <a:pt x="2580" y="4721"/>
                </a:lnTo>
                <a:lnTo>
                  <a:pt x="2458" y="6449"/>
                </a:lnTo>
                <a:lnTo>
                  <a:pt x="2458" y="6498"/>
                </a:lnTo>
                <a:lnTo>
                  <a:pt x="1704" y="6838"/>
                </a:lnTo>
                <a:lnTo>
                  <a:pt x="1558" y="6936"/>
                </a:lnTo>
                <a:lnTo>
                  <a:pt x="1436" y="7033"/>
                </a:lnTo>
                <a:lnTo>
                  <a:pt x="1363" y="7155"/>
                </a:lnTo>
                <a:lnTo>
                  <a:pt x="1290" y="7276"/>
                </a:lnTo>
                <a:lnTo>
                  <a:pt x="1266" y="7422"/>
                </a:lnTo>
                <a:lnTo>
                  <a:pt x="1241" y="7568"/>
                </a:lnTo>
                <a:lnTo>
                  <a:pt x="1241" y="7714"/>
                </a:lnTo>
                <a:lnTo>
                  <a:pt x="1241" y="7885"/>
                </a:lnTo>
                <a:lnTo>
                  <a:pt x="1290" y="8201"/>
                </a:lnTo>
                <a:lnTo>
                  <a:pt x="1363" y="8542"/>
                </a:lnTo>
                <a:lnTo>
                  <a:pt x="1533" y="9101"/>
                </a:lnTo>
                <a:lnTo>
                  <a:pt x="1631" y="9491"/>
                </a:lnTo>
                <a:lnTo>
                  <a:pt x="1777" y="9856"/>
                </a:lnTo>
                <a:lnTo>
                  <a:pt x="2069" y="10586"/>
                </a:lnTo>
                <a:lnTo>
                  <a:pt x="2190" y="10853"/>
                </a:lnTo>
                <a:lnTo>
                  <a:pt x="2336" y="11145"/>
                </a:lnTo>
                <a:lnTo>
                  <a:pt x="2507" y="11437"/>
                </a:lnTo>
                <a:lnTo>
                  <a:pt x="2604" y="11559"/>
                </a:lnTo>
                <a:lnTo>
                  <a:pt x="2726" y="11656"/>
                </a:lnTo>
                <a:lnTo>
                  <a:pt x="2677" y="11826"/>
                </a:lnTo>
                <a:lnTo>
                  <a:pt x="2653" y="11997"/>
                </a:lnTo>
                <a:lnTo>
                  <a:pt x="2628" y="12167"/>
                </a:lnTo>
                <a:lnTo>
                  <a:pt x="2628" y="12362"/>
                </a:lnTo>
                <a:lnTo>
                  <a:pt x="2677" y="12727"/>
                </a:lnTo>
                <a:lnTo>
                  <a:pt x="2701" y="13067"/>
                </a:lnTo>
                <a:lnTo>
                  <a:pt x="2701" y="13530"/>
                </a:lnTo>
                <a:lnTo>
                  <a:pt x="2677" y="13968"/>
                </a:lnTo>
                <a:lnTo>
                  <a:pt x="2677" y="14430"/>
                </a:lnTo>
                <a:lnTo>
                  <a:pt x="2701" y="14649"/>
                </a:lnTo>
                <a:lnTo>
                  <a:pt x="2726" y="14868"/>
                </a:lnTo>
                <a:lnTo>
                  <a:pt x="2531" y="14965"/>
                </a:lnTo>
                <a:lnTo>
                  <a:pt x="2385" y="15087"/>
                </a:lnTo>
                <a:lnTo>
                  <a:pt x="2239" y="15233"/>
                </a:lnTo>
                <a:lnTo>
                  <a:pt x="2117" y="15379"/>
                </a:lnTo>
                <a:lnTo>
                  <a:pt x="2117" y="15428"/>
                </a:lnTo>
                <a:lnTo>
                  <a:pt x="2117" y="15476"/>
                </a:lnTo>
                <a:lnTo>
                  <a:pt x="2142" y="15501"/>
                </a:lnTo>
                <a:lnTo>
                  <a:pt x="2190" y="15501"/>
                </a:lnTo>
                <a:lnTo>
                  <a:pt x="2361" y="15476"/>
                </a:lnTo>
                <a:lnTo>
                  <a:pt x="2531" y="15428"/>
                </a:lnTo>
                <a:lnTo>
                  <a:pt x="2872" y="15306"/>
                </a:lnTo>
                <a:lnTo>
                  <a:pt x="3212" y="15184"/>
                </a:lnTo>
                <a:lnTo>
                  <a:pt x="3553" y="15063"/>
                </a:lnTo>
                <a:lnTo>
                  <a:pt x="3796" y="15014"/>
                </a:lnTo>
                <a:lnTo>
                  <a:pt x="4064" y="15014"/>
                </a:lnTo>
                <a:lnTo>
                  <a:pt x="4307" y="14990"/>
                </a:lnTo>
                <a:lnTo>
                  <a:pt x="4551" y="15014"/>
                </a:lnTo>
                <a:lnTo>
                  <a:pt x="4794" y="15038"/>
                </a:lnTo>
                <a:lnTo>
                  <a:pt x="5037" y="15087"/>
                </a:lnTo>
                <a:lnTo>
                  <a:pt x="5500" y="15209"/>
                </a:lnTo>
                <a:lnTo>
                  <a:pt x="5889" y="15330"/>
                </a:lnTo>
                <a:lnTo>
                  <a:pt x="6278" y="15403"/>
                </a:lnTo>
                <a:lnTo>
                  <a:pt x="6667" y="15428"/>
                </a:lnTo>
                <a:lnTo>
                  <a:pt x="6862" y="15428"/>
                </a:lnTo>
                <a:lnTo>
                  <a:pt x="7057" y="15403"/>
                </a:lnTo>
                <a:lnTo>
                  <a:pt x="7276" y="15355"/>
                </a:lnTo>
                <a:lnTo>
                  <a:pt x="7495" y="15306"/>
                </a:lnTo>
                <a:lnTo>
                  <a:pt x="7908" y="15184"/>
                </a:lnTo>
                <a:lnTo>
                  <a:pt x="8346" y="15063"/>
                </a:lnTo>
                <a:lnTo>
                  <a:pt x="8565" y="15014"/>
                </a:lnTo>
                <a:lnTo>
                  <a:pt x="8784" y="14990"/>
                </a:lnTo>
                <a:lnTo>
                  <a:pt x="8979" y="15014"/>
                </a:lnTo>
                <a:lnTo>
                  <a:pt x="9198" y="15063"/>
                </a:lnTo>
                <a:lnTo>
                  <a:pt x="9393" y="15136"/>
                </a:lnTo>
                <a:lnTo>
                  <a:pt x="9587" y="15209"/>
                </a:lnTo>
                <a:lnTo>
                  <a:pt x="9977" y="15379"/>
                </a:lnTo>
                <a:lnTo>
                  <a:pt x="10196" y="15452"/>
                </a:lnTo>
                <a:lnTo>
                  <a:pt x="10390" y="15476"/>
                </a:lnTo>
                <a:lnTo>
                  <a:pt x="10585" y="15501"/>
                </a:lnTo>
                <a:lnTo>
                  <a:pt x="10780" y="15501"/>
                </a:lnTo>
                <a:lnTo>
                  <a:pt x="11169" y="15452"/>
                </a:lnTo>
                <a:lnTo>
                  <a:pt x="11558" y="15355"/>
                </a:lnTo>
                <a:lnTo>
                  <a:pt x="11923" y="15257"/>
                </a:lnTo>
                <a:lnTo>
                  <a:pt x="12191" y="15184"/>
                </a:lnTo>
                <a:lnTo>
                  <a:pt x="12410" y="15136"/>
                </a:lnTo>
                <a:lnTo>
                  <a:pt x="12653" y="15111"/>
                </a:lnTo>
                <a:lnTo>
                  <a:pt x="12872" y="15087"/>
                </a:lnTo>
                <a:lnTo>
                  <a:pt x="13116" y="15087"/>
                </a:lnTo>
                <a:lnTo>
                  <a:pt x="13335" y="15111"/>
                </a:lnTo>
                <a:lnTo>
                  <a:pt x="13846" y="15209"/>
                </a:lnTo>
                <a:lnTo>
                  <a:pt x="14186" y="15257"/>
                </a:lnTo>
                <a:lnTo>
                  <a:pt x="14357" y="15282"/>
                </a:lnTo>
                <a:lnTo>
                  <a:pt x="14551" y="15282"/>
                </a:lnTo>
                <a:lnTo>
                  <a:pt x="14721" y="15233"/>
                </a:lnTo>
                <a:lnTo>
                  <a:pt x="14892" y="15209"/>
                </a:lnTo>
                <a:lnTo>
                  <a:pt x="15038" y="15136"/>
                </a:lnTo>
                <a:lnTo>
                  <a:pt x="15208" y="15038"/>
                </a:lnTo>
                <a:lnTo>
                  <a:pt x="15281" y="14965"/>
                </a:lnTo>
                <a:lnTo>
                  <a:pt x="15305" y="14868"/>
                </a:lnTo>
                <a:lnTo>
                  <a:pt x="15305" y="14771"/>
                </a:lnTo>
                <a:lnTo>
                  <a:pt x="15281" y="14673"/>
                </a:lnTo>
                <a:lnTo>
                  <a:pt x="15208" y="14600"/>
                </a:lnTo>
                <a:lnTo>
                  <a:pt x="15135" y="14552"/>
                </a:lnTo>
                <a:lnTo>
                  <a:pt x="15038" y="14552"/>
                </a:lnTo>
                <a:lnTo>
                  <a:pt x="14940" y="14600"/>
                </a:lnTo>
                <a:lnTo>
                  <a:pt x="14819" y="14673"/>
                </a:lnTo>
                <a:lnTo>
                  <a:pt x="14697" y="14722"/>
                </a:lnTo>
                <a:lnTo>
                  <a:pt x="14575" y="14746"/>
                </a:lnTo>
                <a:lnTo>
                  <a:pt x="14454" y="14771"/>
                </a:lnTo>
                <a:lnTo>
                  <a:pt x="14211" y="14746"/>
                </a:lnTo>
                <a:lnTo>
                  <a:pt x="13967" y="14722"/>
                </a:lnTo>
                <a:lnTo>
                  <a:pt x="13919" y="13116"/>
                </a:lnTo>
                <a:lnTo>
                  <a:pt x="13919" y="12459"/>
                </a:lnTo>
                <a:lnTo>
                  <a:pt x="13894" y="12118"/>
                </a:lnTo>
                <a:lnTo>
                  <a:pt x="13821" y="11778"/>
                </a:lnTo>
                <a:lnTo>
                  <a:pt x="13870" y="11753"/>
                </a:lnTo>
                <a:lnTo>
                  <a:pt x="13894" y="11680"/>
                </a:lnTo>
                <a:lnTo>
                  <a:pt x="14527" y="10221"/>
                </a:lnTo>
                <a:lnTo>
                  <a:pt x="15111" y="8736"/>
                </a:lnTo>
                <a:lnTo>
                  <a:pt x="15232" y="8420"/>
                </a:lnTo>
                <a:lnTo>
                  <a:pt x="15305" y="8128"/>
                </a:lnTo>
                <a:lnTo>
                  <a:pt x="15354" y="7982"/>
                </a:lnTo>
                <a:lnTo>
                  <a:pt x="15354" y="7836"/>
                </a:lnTo>
                <a:lnTo>
                  <a:pt x="15354" y="7666"/>
                </a:lnTo>
                <a:lnTo>
                  <a:pt x="15354" y="7520"/>
                </a:lnTo>
                <a:lnTo>
                  <a:pt x="15305" y="7374"/>
                </a:lnTo>
                <a:lnTo>
                  <a:pt x="15257" y="7276"/>
                </a:lnTo>
                <a:lnTo>
                  <a:pt x="15184" y="7155"/>
                </a:lnTo>
                <a:lnTo>
                  <a:pt x="15111" y="7057"/>
                </a:lnTo>
                <a:lnTo>
                  <a:pt x="14916" y="6863"/>
                </a:lnTo>
                <a:lnTo>
                  <a:pt x="14697" y="6717"/>
                </a:lnTo>
                <a:lnTo>
                  <a:pt x="14405" y="6546"/>
                </a:lnTo>
                <a:lnTo>
                  <a:pt x="14065" y="6400"/>
                </a:lnTo>
                <a:lnTo>
                  <a:pt x="14113" y="6181"/>
                </a:lnTo>
                <a:lnTo>
                  <a:pt x="14138" y="5962"/>
                </a:lnTo>
                <a:lnTo>
                  <a:pt x="14162" y="5719"/>
                </a:lnTo>
                <a:lnTo>
                  <a:pt x="14162" y="5500"/>
                </a:lnTo>
                <a:lnTo>
                  <a:pt x="14138" y="5013"/>
                </a:lnTo>
                <a:lnTo>
                  <a:pt x="14113" y="4551"/>
                </a:lnTo>
                <a:lnTo>
                  <a:pt x="14089" y="4381"/>
                </a:lnTo>
                <a:lnTo>
                  <a:pt x="14040" y="4040"/>
                </a:lnTo>
                <a:lnTo>
                  <a:pt x="14089" y="3991"/>
                </a:lnTo>
                <a:lnTo>
                  <a:pt x="14113" y="3918"/>
                </a:lnTo>
                <a:lnTo>
                  <a:pt x="14113" y="3845"/>
                </a:lnTo>
                <a:lnTo>
                  <a:pt x="14089" y="3772"/>
                </a:lnTo>
                <a:lnTo>
                  <a:pt x="14065" y="3699"/>
                </a:lnTo>
                <a:lnTo>
                  <a:pt x="14016" y="3651"/>
                </a:lnTo>
                <a:lnTo>
                  <a:pt x="13943" y="3602"/>
                </a:lnTo>
                <a:lnTo>
                  <a:pt x="13846" y="3578"/>
                </a:lnTo>
                <a:lnTo>
                  <a:pt x="13116" y="3553"/>
                </a:lnTo>
                <a:lnTo>
                  <a:pt x="12726" y="3553"/>
                </a:lnTo>
                <a:lnTo>
                  <a:pt x="12361" y="3578"/>
                </a:lnTo>
                <a:lnTo>
                  <a:pt x="12361" y="3286"/>
                </a:lnTo>
                <a:lnTo>
                  <a:pt x="12361" y="2848"/>
                </a:lnTo>
                <a:lnTo>
                  <a:pt x="12313" y="2410"/>
                </a:lnTo>
                <a:lnTo>
                  <a:pt x="12288" y="2337"/>
                </a:lnTo>
                <a:lnTo>
                  <a:pt x="12264" y="2264"/>
                </a:lnTo>
                <a:lnTo>
                  <a:pt x="12191" y="2215"/>
                </a:lnTo>
                <a:lnTo>
                  <a:pt x="12118" y="2191"/>
                </a:lnTo>
                <a:lnTo>
                  <a:pt x="12045" y="2118"/>
                </a:lnTo>
                <a:lnTo>
                  <a:pt x="11923" y="2094"/>
                </a:lnTo>
                <a:lnTo>
                  <a:pt x="11339" y="2069"/>
                </a:lnTo>
                <a:lnTo>
                  <a:pt x="10293" y="2069"/>
                </a:lnTo>
                <a:lnTo>
                  <a:pt x="10147" y="2094"/>
                </a:lnTo>
                <a:lnTo>
                  <a:pt x="10147" y="1875"/>
                </a:lnTo>
                <a:lnTo>
                  <a:pt x="10147" y="1656"/>
                </a:lnTo>
                <a:lnTo>
                  <a:pt x="10098" y="1242"/>
                </a:lnTo>
                <a:lnTo>
                  <a:pt x="10074" y="707"/>
                </a:lnTo>
                <a:lnTo>
                  <a:pt x="10025" y="463"/>
                </a:lnTo>
                <a:lnTo>
                  <a:pt x="10001" y="342"/>
                </a:lnTo>
                <a:lnTo>
                  <a:pt x="9928" y="220"/>
                </a:lnTo>
                <a:lnTo>
                  <a:pt x="9904" y="147"/>
                </a:lnTo>
                <a:lnTo>
                  <a:pt x="9855" y="98"/>
                </a:lnTo>
                <a:lnTo>
                  <a:pt x="9782" y="74"/>
                </a:lnTo>
                <a:lnTo>
                  <a:pt x="9709" y="50"/>
                </a:lnTo>
                <a:lnTo>
                  <a:pt x="8882" y="25"/>
                </a:lnTo>
                <a:lnTo>
                  <a:pt x="8054" y="1"/>
                </a:lnTo>
                <a:close/>
                <a:moveTo>
                  <a:pt x="4307" y="15452"/>
                </a:moveTo>
                <a:lnTo>
                  <a:pt x="4088" y="15501"/>
                </a:lnTo>
                <a:lnTo>
                  <a:pt x="3869" y="15549"/>
                </a:lnTo>
                <a:lnTo>
                  <a:pt x="3650" y="15647"/>
                </a:lnTo>
                <a:lnTo>
                  <a:pt x="3237" y="15866"/>
                </a:lnTo>
                <a:lnTo>
                  <a:pt x="3018" y="15963"/>
                </a:lnTo>
                <a:lnTo>
                  <a:pt x="2823" y="16060"/>
                </a:lnTo>
                <a:lnTo>
                  <a:pt x="2653" y="16109"/>
                </a:lnTo>
                <a:lnTo>
                  <a:pt x="2507" y="16133"/>
                </a:lnTo>
                <a:lnTo>
                  <a:pt x="2190" y="16133"/>
                </a:lnTo>
                <a:lnTo>
                  <a:pt x="1850" y="16085"/>
                </a:lnTo>
                <a:lnTo>
                  <a:pt x="1533" y="16012"/>
                </a:lnTo>
                <a:lnTo>
                  <a:pt x="1241" y="15890"/>
                </a:lnTo>
                <a:lnTo>
                  <a:pt x="925" y="15768"/>
                </a:lnTo>
                <a:lnTo>
                  <a:pt x="341" y="15525"/>
                </a:lnTo>
                <a:lnTo>
                  <a:pt x="244" y="15501"/>
                </a:lnTo>
                <a:lnTo>
                  <a:pt x="171" y="15525"/>
                </a:lnTo>
                <a:lnTo>
                  <a:pt x="122" y="15574"/>
                </a:lnTo>
                <a:lnTo>
                  <a:pt x="98" y="15622"/>
                </a:lnTo>
                <a:lnTo>
                  <a:pt x="73" y="15695"/>
                </a:lnTo>
                <a:lnTo>
                  <a:pt x="73" y="15768"/>
                </a:lnTo>
                <a:lnTo>
                  <a:pt x="122" y="15841"/>
                </a:lnTo>
                <a:lnTo>
                  <a:pt x="171" y="15890"/>
                </a:lnTo>
                <a:lnTo>
                  <a:pt x="390" y="16060"/>
                </a:lnTo>
                <a:lnTo>
                  <a:pt x="633" y="16182"/>
                </a:lnTo>
                <a:lnTo>
                  <a:pt x="901" y="16304"/>
                </a:lnTo>
                <a:lnTo>
                  <a:pt x="1144" y="16425"/>
                </a:lnTo>
                <a:lnTo>
                  <a:pt x="1412" y="16498"/>
                </a:lnTo>
                <a:lnTo>
                  <a:pt x="1679" y="16571"/>
                </a:lnTo>
                <a:lnTo>
                  <a:pt x="1947" y="16644"/>
                </a:lnTo>
                <a:lnTo>
                  <a:pt x="2215" y="16669"/>
                </a:lnTo>
                <a:lnTo>
                  <a:pt x="2507" y="16669"/>
                </a:lnTo>
                <a:lnTo>
                  <a:pt x="2750" y="16620"/>
                </a:lnTo>
                <a:lnTo>
                  <a:pt x="2993" y="16547"/>
                </a:lnTo>
                <a:lnTo>
                  <a:pt x="3237" y="16425"/>
                </a:lnTo>
                <a:lnTo>
                  <a:pt x="3699" y="16206"/>
                </a:lnTo>
                <a:lnTo>
                  <a:pt x="3942" y="16109"/>
                </a:lnTo>
                <a:lnTo>
                  <a:pt x="4210" y="16012"/>
                </a:lnTo>
                <a:lnTo>
                  <a:pt x="4332" y="15987"/>
                </a:lnTo>
                <a:lnTo>
                  <a:pt x="4453" y="15963"/>
                </a:lnTo>
                <a:lnTo>
                  <a:pt x="4697" y="15987"/>
                </a:lnTo>
                <a:lnTo>
                  <a:pt x="4964" y="16060"/>
                </a:lnTo>
                <a:lnTo>
                  <a:pt x="5232" y="16158"/>
                </a:lnTo>
                <a:lnTo>
                  <a:pt x="5743" y="16352"/>
                </a:lnTo>
                <a:lnTo>
                  <a:pt x="6011" y="16450"/>
                </a:lnTo>
                <a:lnTo>
                  <a:pt x="6254" y="16523"/>
                </a:lnTo>
                <a:lnTo>
                  <a:pt x="6522" y="16547"/>
                </a:lnTo>
                <a:lnTo>
                  <a:pt x="6765" y="16523"/>
                </a:lnTo>
                <a:lnTo>
                  <a:pt x="7032" y="16474"/>
                </a:lnTo>
                <a:lnTo>
                  <a:pt x="7276" y="16401"/>
                </a:lnTo>
                <a:lnTo>
                  <a:pt x="7787" y="16231"/>
                </a:lnTo>
                <a:lnTo>
                  <a:pt x="8030" y="16158"/>
                </a:lnTo>
                <a:lnTo>
                  <a:pt x="8298" y="16133"/>
                </a:lnTo>
                <a:lnTo>
                  <a:pt x="8565" y="16133"/>
                </a:lnTo>
                <a:lnTo>
                  <a:pt x="8809" y="16182"/>
                </a:lnTo>
                <a:lnTo>
                  <a:pt x="9076" y="16231"/>
                </a:lnTo>
                <a:lnTo>
                  <a:pt x="9344" y="16328"/>
                </a:lnTo>
                <a:lnTo>
                  <a:pt x="9855" y="16498"/>
                </a:lnTo>
                <a:lnTo>
                  <a:pt x="10123" y="16571"/>
                </a:lnTo>
                <a:lnTo>
                  <a:pt x="10366" y="16620"/>
                </a:lnTo>
                <a:lnTo>
                  <a:pt x="10634" y="16620"/>
                </a:lnTo>
                <a:lnTo>
                  <a:pt x="10877" y="16596"/>
                </a:lnTo>
                <a:lnTo>
                  <a:pt x="11120" y="16547"/>
                </a:lnTo>
                <a:lnTo>
                  <a:pt x="11364" y="16450"/>
                </a:lnTo>
                <a:lnTo>
                  <a:pt x="11826" y="16255"/>
                </a:lnTo>
                <a:lnTo>
                  <a:pt x="12069" y="16182"/>
                </a:lnTo>
                <a:lnTo>
                  <a:pt x="12313" y="16085"/>
                </a:lnTo>
                <a:lnTo>
                  <a:pt x="12459" y="16060"/>
                </a:lnTo>
                <a:lnTo>
                  <a:pt x="12580" y="16036"/>
                </a:lnTo>
                <a:lnTo>
                  <a:pt x="12872" y="16036"/>
                </a:lnTo>
                <a:lnTo>
                  <a:pt x="13164" y="16085"/>
                </a:lnTo>
                <a:lnTo>
                  <a:pt x="13432" y="16182"/>
                </a:lnTo>
                <a:lnTo>
                  <a:pt x="14016" y="16352"/>
                </a:lnTo>
                <a:lnTo>
                  <a:pt x="14284" y="16425"/>
                </a:lnTo>
                <a:lnTo>
                  <a:pt x="14575" y="16474"/>
                </a:lnTo>
                <a:lnTo>
                  <a:pt x="14819" y="16498"/>
                </a:lnTo>
                <a:lnTo>
                  <a:pt x="15086" y="16474"/>
                </a:lnTo>
                <a:lnTo>
                  <a:pt x="15330" y="16450"/>
                </a:lnTo>
                <a:lnTo>
                  <a:pt x="15573" y="16377"/>
                </a:lnTo>
                <a:lnTo>
                  <a:pt x="15816" y="16279"/>
                </a:lnTo>
                <a:lnTo>
                  <a:pt x="16035" y="16182"/>
                </a:lnTo>
                <a:lnTo>
                  <a:pt x="16254" y="16060"/>
                </a:lnTo>
                <a:lnTo>
                  <a:pt x="16473" y="15914"/>
                </a:lnTo>
                <a:lnTo>
                  <a:pt x="16522" y="15841"/>
                </a:lnTo>
                <a:lnTo>
                  <a:pt x="16546" y="15768"/>
                </a:lnTo>
                <a:lnTo>
                  <a:pt x="16546" y="15695"/>
                </a:lnTo>
                <a:lnTo>
                  <a:pt x="16522" y="15622"/>
                </a:lnTo>
                <a:lnTo>
                  <a:pt x="16473" y="15574"/>
                </a:lnTo>
                <a:lnTo>
                  <a:pt x="16425" y="15525"/>
                </a:lnTo>
                <a:lnTo>
                  <a:pt x="16352" y="15525"/>
                </a:lnTo>
                <a:lnTo>
                  <a:pt x="16279" y="15574"/>
                </a:lnTo>
                <a:lnTo>
                  <a:pt x="16035" y="15720"/>
                </a:lnTo>
                <a:lnTo>
                  <a:pt x="15792" y="15841"/>
                </a:lnTo>
                <a:lnTo>
                  <a:pt x="15524" y="15939"/>
                </a:lnTo>
                <a:lnTo>
                  <a:pt x="15281" y="16012"/>
                </a:lnTo>
                <a:lnTo>
                  <a:pt x="15013" y="16060"/>
                </a:lnTo>
                <a:lnTo>
                  <a:pt x="14721" y="16085"/>
                </a:lnTo>
                <a:lnTo>
                  <a:pt x="14454" y="16060"/>
                </a:lnTo>
                <a:lnTo>
                  <a:pt x="14186" y="16012"/>
                </a:lnTo>
                <a:lnTo>
                  <a:pt x="13724" y="15914"/>
                </a:lnTo>
                <a:lnTo>
                  <a:pt x="13286" y="15793"/>
                </a:lnTo>
                <a:lnTo>
                  <a:pt x="13067" y="15768"/>
                </a:lnTo>
                <a:lnTo>
                  <a:pt x="12848" y="15744"/>
                </a:lnTo>
                <a:lnTo>
                  <a:pt x="12629" y="15744"/>
                </a:lnTo>
                <a:lnTo>
                  <a:pt x="12386" y="15768"/>
                </a:lnTo>
                <a:lnTo>
                  <a:pt x="12167" y="15841"/>
                </a:lnTo>
                <a:lnTo>
                  <a:pt x="11948" y="15914"/>
                </a:lnTo>
                <a:lnTo>
                  <a:pt x="11510" y="16060"/>
                </a:lnTo>
                <a:lnTo>
                  <a:pt x="11218" y="16158"/>
                </a:lnTo>
                <a:lnTo>
                  <a:pt x="10901" y="16182"/>
                </a:lnTo>
                <a:lnTo>
                  <a:pt x="10585" y="16158"/>
                </a:lnTo>
                <a:lnTo>
                  <a:pt x="10293" y="16133"/>
                </a:lnTo>
                <a:lnTo>
                  <a:pt x="10025" y="16060"/>
                </a:lnTo>
                <a:lnTo>
                  <a:pt x="9782" y="15987"/>
                </a:lnTo>
                <a:lnTo>
                  <a:pt x="9295" y="15817"/>
                </a:lnTo>
                <a:lnTo>
                  <a:pt x="9052" y="15744"/>
                </a:lnTo>
                <a:lnTo>
                  <a:pt x="8809" y="15671"/>
                </a:lnTo>
                <a:lnTo>
                  <a:pt x="8565" y="15622"/>
                </a:lnTo>
                <a:lnTo>
                  <a:pt x="8298" y="15598"/>
                </a:lnTo>
                <a:lnTo>
                  <a:pt x="8030" y="15622"/>
                </a:lnTo>
                <a:lnTo>
                  <a:pt x="7762" y="15671"/>
                </a:lnTo>
                <a:lnTo>
                  <a:pt x="7276" y="15841"/>
                </a:lnTo>
                <a:lnTo>
                  <a:pt x="7032" y="15914"/>
                </a:lnTo>
                <a:lnTo>
                  <a:pt x="6765" y="15987"/>
                </a:lnTo>
                <a:lnTo>
                  <a:pt x="6522" y="16012"/>
                </a:lnTo>
                <a:lnTo>
                  <a:pt x="6254" y="15987"/>
                </a:lnTo>
                <a:lnTo>
                  <a:pt x="6035" y="15939"/>
                </a:lnTo>
                <a:lnTo>
                  <a:pt x="5816" y="15866"/>
                </a:lnTo>
                <a:lnTo>
                  <a:pt x="5402" y="15720"/>
                </a:lnTo>
                <a:lnTo>
                  <a:pt x="4989" y="15549"/>
                </a:lnTo>
                <a:lnTo>
                  <a:pt x="4770" y="15501"/>
                </a:lnTo>
                <a:lnTo>
                  <a:pt x="4551" y="15452"/>
                </a:lnTo>
                <a:close/>
                <a:moveTo>
                  <a:pt x="560" y="16717"/>
                </a:moveTo>
                <a:lnTo>
                  <a:pt x="365" y="16742"/>
                </a:lnTo>
                <a:lnTo>
                  <a:pt x="195" y="16815"/>
                </a:lnTo>
                <a:lnTo>
                  <a:pt x="25" y="16936"/>
                </a:lnTo>
                <a:lnTo>
                  <a:pt x="0" y="16985"/>
                </a:lnTo>
                <a:lnTo>
                  <a:pt x="0" y="17009"/>
                </a:lnTo>
                <a:lnTo>
                  <a:pt x="0" y="17082"/>
                </a:lnTo>
                <a:lnTo>
                  <a:pt x="73" y="17131"/>
                </a:lnTo>
                <a:lnTo>
                  <a:pt x="171" y="17155"/>
                </a:lnTo>
                <a:lnTo>
                  <a:pt x="438" y="17131"/>
                </a:lnTo>
                <a:lnTo>
                  <a:pt x="730" y="17155"/>
                </a:lnTo>
                <a:lnTo>
                  <a:pt x="974" y="17204"/>
                </a:lnTo>
                <a:lnTo>
                  <a:pt x="1217" y="17301"/>
                </a:lnTo>
                <a:lnTo>
                  <a:pt x="1728" y="17520"/>
                </a:lnTo>
                <a:lnTo>
                  <a:pt x="1971" y="17618"/>
                </a:lnTo>
                <a:lnTo>
                  <a:pt x="2239" y="17715"/>
                </a:lnTo>
                <a:lnTo>
                  <a:pt x="2482" y="17764"/>
                </a:lnTo>
                <a:lnTo>
                  <a:pt x="2726" y="17764"/>
                </a:lnTo>
                <a:lnTo>
                  <a:pt x="2969" y="17715"/>
                </a:lnTo>
                <a:lnTo>
                  <a:pt x="3188" y="17666"/>
                </a:lnTo>
                <a:lnTo>
                  <a:pt x="3650" y="17472"/>
                </a:lnTo>
                <a:lnTo>
                  <a:pt x="3894" y="17399"/>
                </a:lnTo>
                <a:lnTo>
                  <a:pt x="4113" y="17326"/>
                </a:lnTo>
                <a:lnTo>
                  <a:pt x="4405" y="17277"/>
                </a:lnTo>
                <a:lnTo>
                  <a:pt x="4697" y="17277"/>
                </a:lnTo>
                <a:lnTo>
                  <a:pt x="4989" y="17301"/>
                </a:lnTo>
                <a:lnTo>
                  <a:pt x="5281" y="17350"/>
                </a:lnTo>
                <a:lnTo>
                  <a:pt x="5865" y="17520"/>
                </a:lnTo>
                <a:lnTo>
                  <a:pt x="6400" y="17642"/>
                </a:lnTo>
                <a:lnTo>
                  <a:pt x="6667" y="17691"/>
                </a:lnTo>
                <a:lnTo>
                  <a:pt x="6911" y="17715"/>
                </a:lnTo>
                <a:lnTo>
                  <a:pt x="7154" y="17691"/>
                </a:lnTo>
                <a:lnTo>
                  <a:pt x="7397" y="17666"/>
                </a:lnTo>
                <a:lnTo>
                  <a:pt x="7616" y="17618"/>
                </a:lnTo>
                <a:lnTo>
                  <a:pt x="7860" y="17545"/>
                </a:lnTo>
                <a:lnTo>
                  <a:pt x="8322" y="17374"/>
                </a:lnTo>
                <a:lnTo>
                  <a:pt x="8468" y="17326"/>
                </a:lnTo>
                <a:lnTo>
                  <a:pt x="8614" y="17301"/>
                </a:lnTo>
                <a:lnTo>
                  <a:pt x="8760" y="17277"/>
                </a:lnTo>
                <a:lnTo>
                  <a:pt x="8882" y="17277"/>
                </a:lnTo>
                <a:lnTo>
                  <a:pt x="9028" y="17301"/>
                </a:lnTo>
                <a:lnTo>
                  <a:pt x="9174" y="17326"/>
                </a:lnTo>
                <a:lnTo>
                  <a:pt x="9295" y="17374"/>
                </a:lnTo>
                <a:lnTo>
                  <a:pt x="9441" y="17447"/>
                </a:lnTo>
                <a:lnTo>
                  <a:pt x="9831" y="17666"/>
                </a:lnTo>
                <a:lnTo>
                  <a:pt x="10025" y="17764"/>
                </a:lnTo>
                <a:lnTo>
                  <a:pt x="10244" y="17837"/>
                </a:lnTo>
                <a:lnTo>
                  <a:pt x="10463" y="17861"/>
                </a:lnTo>
                <a:lnTo>
                  <a:pt x="10658" y="17837"/>
                </a:lnTo>
                <a:lnTo>
                  <a:pt x="10877" y="17788"/>
                </a:lnTo>
                <a:lnTo>
                  <a:pt x="11096" y="17691"/>
                </a:lnTo>
                <a:lnTo>
                  <a:pt x="11510" y="17520"/>
                </a:lnTo>
                <a:lnTo>
                  <a:pt x="11704" y="17423"/>
                </a:lnTo>
                <a:lnTo>
                  <a:pt x="11899" y="17350"/>
                </a:lnTo>
                <a:lnTo>
                  <a:pt x="12045" y="17301"/>
                </a:lnTo>
                <a:lnTo>
                  <a:pt x="12434" y="17301"/>
                </a:lnTo>
                <a:lnTo>
                  <a:pt x="12726" y="17374"/>
                </a:lnTo>
                <a:lnTo>
                  <a:pt x="12994" y="17447"/>
                </a:lnTo>
                <a:lnTo>
                  <a:pt x="13554" y="17666"/>
                </a:lnTo>
                <a:lnTo>
                  <a:pt x="13846" y="17739"/>
                </a:lnTo>
                <a:lnTo>
                  <a:pt x="14113" y="17788"/>
                </a:lnTo>
                <a:lnTo>
                  <a:pt x="14381" y="17788"/>
                </a:lnTo>
                <a:lnTo>
                  <a:pt x="14673" y="17764"/>
                </a:lnTo>
                <a:lnTo>
                  <a:pt x="14940" y="17691"/>
                </a:lnTo>
                <a:lnTo>
                  <a:pt x="15232" y="17618"/>
                </a:lnTo>
                <a:lnTo>
                  <a:pt x="15500" y="17520"/>
                </a:lnTo>
                <a:lnTo>
                  <a:pt x="15768" y="17399"/>
                </a:lnTo>
                <a:lnTo>
                  <a:pt x="16254" y="17155"/>
                </a:lnTo>
                <a:lnTo>
                  <a:pt x="16327" y="17107"/>
                </a:lnTo>
                <a:lnTo>
                  <a:pt x="16352" y="17034"/>
                </a:lnTo>
                <a:lnTo>
                  <a:pt x="16352" y="16961"/>
                </a:lnTo>
                <a:lnTo>
                  <a:pt x="16327" y="16888"/>
                </a:lnTo>
                <a:lnTo>
                  <a:pt x="16303" y="16839"/>
                </a:lnTo>
                <a:lnTo>
                  <a:pt x="16254" y="16790"/>
                </a:lnTo>
                <a:lnTo>
                  <a:pt x="16181" y="16766"/>
                </a:lnTo>
                <a:lnTo>
                  <a:pt x="16108" y="16790"/>
                </a:lnTo>
                <a:lnTo>
                  <a:pt x="15500" y="17034"/>
                </a:lnTo>
                <a:lnTo>
                  <a:pt x="15208" y="17155"/>
                </a:lnTo>
                <a:lnTo>
                  <a:pt x="14916" y="17253"/>
                </a:lnTo>
                <a:lnTo>
                  <a:pt x="14624" y="17326"/>
                </a:lnTo>
                <a:lnTo>
                  <a:pt x="14308" y="17350"/>
                </a:lnTo>
                <a:lnTo>
                  <a:pt x="13992" y="17350"/>
                </a:lnTo>
                <a:lnTo>
                  <a:pt x="13651" y="17301"/>
                </a:lnTo>
                <a:lnTo>
                  <a:pt x="13408" y="17228"/>
                </a:lnTo>
                <a:lnTo>
                  <a:pt x="13189" y="17155"/>
                </a:lnTo>
                <a:lnTo>
                  <a:pt x="12751" y="16985"/>
                </a:lnTo>
                <a:lnTo>
                  <a:pt x="12507" y="16936"/>
                </a:lnTo>
                <a:lnTo>
                  <a:pt x="12288" y="16912"/>
                </a:lnTo>
                <a:lnTo>
                  <a:pt x="12045" y="16912"/>
                </a:lnTo>
                <a:lnTo>
                  <a:pt x="11802" y="16961"/>
                </a:lnTo>
                <a:lnTo>
                  <a:pt x="11558" y="17034"/>
                </a:lnTo>
                <a:lnTo>
                  <a:pt x="11339" y="17131"/>
                </a:lnTo>
                <a:lnTo>
                  <a:pt x="10901" y="17326"/>
                </a:lnTo>
                <a:lnTo>
                  <a:pt x="10731" y="17399"/>
                </a:lnTo>
                <a:lnTo>
                  <a:pt x="10585" y="17423"/>
                </a:lnTo>
                <a:lnTo>
                  <a:pt x="10439" y="17423"/>
                </a:lnTo>
                <a:lnTo>
                  <a:pt x="10317" y="17399"/>
                </a:lnTo>
                <a:lnTo>
                  <a:pt x="10171" y="17374"/>
                </a:lnTo>
                <a:lnTo>
                  <a:pt x="10050" y="17326"/>
                </a:lnTo>
                <a:lnTo>
                  <a:pt x="9758" y="17180"/>
                </a:lnTo>
                <a:lnTo>
                  <a:pt x="9539" y="17058"/>
                </a:lnTo>
                <a:lnTo>
                  <a:pt x="9344" y="16961"/>
                </a:lnTo>
                <a:lnTo>
                  <a:pt x="9149" y="16912"/>
                </a:lnTo>
                <a:lnTo>
                  <a:pt x="8930" y="16888"/>
                </a:lnTo>
                <a:lnTo>
                  <a:pt x="8736" y="16863"/>
                </a:lnTo>
                <a:lnTo>
                  <a:pt x="8517" y="16912"/>
                </a:lnTo>
                <a:lnTo>
                  <a:pt x="8298" y="16961"/>
                </a:lnTo>
                <a:lnTo>
                  <a:pt x="8054" y="17034"/>
                </a:lnTo>
                <a:lnTo>
                  <a:pt x="7787" y="17131"/>
                </a:lnTo>
                <a:lnTo>
                  <a:pt x="7495" y="17228"/>
                </a:lnTo>
                <a:lnTo>
                  <a:pt x="7227" y="17277"/>
                </a:lnTo>
                <a:lnTo>
                  <a:pt x="6911" y="17301"/>
                </a:lnTo>
                <a:lnTo>
                  <a:pt x="6619" y="17277"/>
                </a:lnTo>
                <a:lnTo>
                  <a:pt x="6327" y="17228"/>
                </a:lnTo>
                <a:lnTo>
                  <a:pt x="5767" y="17082"/>
                </a:lnTo>
                <a:lnTo>
                  <a:pt x="5305" y="16961"/>
                </a:lnTo>
                <a:lnTo>
                  <a:pt x="4818" y="16888"/>
                </a:lnTo>
                <a:lnTo>
                  <a:pt x="4356" y="16888"/>
                </a:lnTo>
                <a:lnTo>
                  <a:pt x="4113" y="16912"/>
                </a:lnTo>
                <a:lnTo>
                  <a:pt x="3869" y="16961"/>
                </a:lnTo>
                <a:lnTo>
                  <a:pt x="3602" y="17034"/>
                </a:lnTo>
                <a:lnTo>
                  <a:pt x="3358" y="17131"/>
                </a:lnTo>
                <a:lnTo>
                  <a:pt x="3115" y="17253"/>
                </a:lnTo>
                <a:lnTo>
                  <a:pt x="2847" y="17326"/>
                </a:lnTo>
                <a:lnTo>
                  <a:pt x="2677" y="17350"/>
                </a:lnTo>
                <a:lnTo>
                  <a:pt x="2507" y="17350"/>
                </a:lnTo>
                <a:lnTo>
                  <a:pt x="2312" y="17301"/>
                </a:lnTo>
                <a:lnTo>
                  <a:pt x="2142" y="17253"/>
                </a:lnTo>
                <a:lnTo>
                  <a:pt x="1801" y="17107"/>
                </a:lnTo>
                <a:lnTo>
                  <a:pt x="1485" y="16936"/>
                </a:lnTo>
                <a:lnTo>
                  <a:pt x="1314" y="16863"/>
                </a:lnTo>
                <a:lnTo>
                  <a:pt x="1120" y="16790"/>
                </a:lnTo>
                <a:lnTo>
                  <a:pt x="949" y="16742"/>
                </a:lnTo>
                <a:lnTo>
                  <a:pt x="755" y="16717"/>
                </a:lnTo>
                <a:close/>
                <a:moveTo>
                  <a:pt x="16571" y="17666"/>
                </a:moveTo>
                <a:lnTo>
                  <a:pt x="15938" y="17861"/>
                </a:lnTo>
                <a:lnTo>
                  <a:pt x="15305" y="18056"/>
                </a:lnTo>
                <a:lnTo>
                  <a:pt x="14989" y="18129"/>
                </a:lnTo>
                <a:lnTo>
                  <a:pt x="14648" y="18202"/>
                </a:lnTo>
                <a:lnTo>
                  <a:pt x="14332" y="18250"/>
                </a:lnTo>
                <a:lnTo>
                  <a:pt x="14016" y="18275"/>
                </a:lnTo>
                <a:lnTo>
                  <a:pt x="13870" y="18250"/>
                </a:lnTo>
                <a:lnTo>
                  <a:pt x="13724" y="18226"/>
                </a:lnTo>
                <a:lnTo>
                  <a:pt x="13481" y="18104"/>
                </a:lnTo>
                <a:lnTo>
                  <a:pt x="13237" y="17983"/>
                </a:lnTo>
                <a:lnTo>
                  <a:pt x="12970" y="17861"/>
                </a:lnTo>
                <a:lnTo>
                  <a:pt x="12726" y="17788"/>
                </a:lnTo>
                <a:lnTo>
                  <a:pt x="12507" y="17764"/>
                </a:lnTo>
                <a:lnTo>
                  <a:pt x="12264" y="17764"/>
                </a:lnTo>
                <a:lnTo>
                  <a:pt x="12045" y="17812"/>
                </a:lnTo>
                <a:lnTo>
                  <a:pt x="11753" y="17885"/>
                </a:lnTo>
                <a:lnTo>
                  <a:pt x="11485" y="17983"/>
                </a:lnTo>
                <a:lnTo>
                  <a:pt x="10974" y="18202"/>
                </a:lnTo>
                <a:lnTo>
                  <a:pt x="10707" y="18275"/>
                </a:lnTo>
                <a:lnTo>
                  <a:pt x="10439" y="18323"/>
                </a:lnTo>
                <a:lnTo>
                  <a:pt x="10317" y="18323"/>
                </a:lnTo>
                <a:lnTo>
                  <a:pt x="10171" y="18299"/>
                </a:lnTo>
                <a:lnTo>
                  <a:pt x="10025" y="18250"/>
                </a:lnTo>
                <a:lnTo>
                  <a:pt x="9855" y="18202"/>
                </a:lnTo>
                <a:lnTo>
                  <a:pt x="9441" y="18007"/>
                </a:lnTo>
                <a:lnTo>
                  <a:pt x="9222" y="17910"/>
                </a:lnTo>
                <a:lnTo>
                  <a:pt x="9028" y="17837"/>
                </a:lnTo>
                <a:lnTo>
                  <a:pt x="8809" y="17788"/>
                </a:lnTo>
                <a:lnTo>
                  <a:pt x="8590" y="17764"/>
                </a:lnTo>
                <a:lnTo>
                  <a:pt x="8371" y="17764"/>
                </a:lnTo>
                <a:lnTo>
                  <a:pt x="8127" y="17788"/>
                </a:lnTo>
                <a:lnTo>
                  <a:pt x="7860" y="17885"/>
                </a:lnTo>
                <a:lnTo>
                  <a:pt x="7592" y="17983"/>
                </a:lnTo>
                <a:lnTo>
                  <a:pt x="7105" y="18202"/>
                </a:lnTo>
                <a:lnTo>
                  <a:pt x="6862" y="18299"/>
                </a:lnTo>
                <a:lnTo>
                  <a:pt x="6619" y="18372"/>
                </a:lnTo>
                <a:lnTo>
                  <a:pt x="6205" y="18372"/>
                </a:lnTo>
                <a:lnTo>
                  <a:pt x="6059" y="18323"/>
                </a:lnTo>
                <a:lnTo>
                  <a:pt x="5792" y="18250"/>
                </a:lnTo>
                <a:lnTo>
                  <a:pt x="5573" y="18153"/>
                </a:lnTo>
                <a:lnTo>
                  <a:pt x="5110" y="17958"/>
                </a:lnTo>
                <a:lnTo>
                  <a:pt x="4867" y="17885"/>
                </a:lnTo>
                <a:lnTo>
                  <a:pt x="4624" y="17812"/>
                </a:lnTo>
                <a:lnTo>
                  <a:pt x="4380" y="17788"/>
                </a:lnTo>
                <a:lnTo>
                  <a:pt x="4113" y="17788"/>
                </a:lnTo>
                <a:lnTo>
                  <a:pt x="3845" y="17837"/>
                </a:lnTo>
                <a:lnTo>
                  <a:pt x="3602" y="17910"/>
                </a:lnTo>
                <a:lnTo>
                  <a:pt x="3115" y="18129"/>
                </a:lnTo>
                <a:lnTo>
                  <a:pt x="2872" y="18226"/>
                </a:lnTo>
                <a:lnTo>
                  <a:pt x="2628" y="18323"/>
                </a:lnTo>
                <a:lnTo>
                  <a:pt x="2361" y="18372"/>
                </a:lnTo>
                <a:lnTo>
                  <a:pt x="2117" y="18421"/>
                </a:lnTo>
                <a:lnTo>
                  <a:pt x="1971" y="18421"/>
                </a:lnTo>
                <a:lnTo>
                  <a:pt x="1850" y="18396"/>
                </a:lnTo>
                <a:lnTo>
                  <a:pt x="1582" y="18299"/>
                </a:lnTo>
                <a:lnTo>
                  <a:pt x="1363" y="18177"/>
                </a:lnTo>
                <a:lnTo>
                  <a:pt x="1120" y="18031"/>
                </a:lnTo>
                <a:lnTo>
                  <a:pt x="876" y="17934"/>
                </a:lnTo>
                <a:lnTo>
                  <a:pt x="633" y="17837"/>
                </a:lnTo>
                <a:lnTo>
                  <a:pt x="511" y="17812"/>
                </a:lnTo>
                <a:lnTo>
                  <a:pt x="390" y="17812"/>
                </a:lnTo>
                <a:lnTo>
                  <a:pt x="244" y="17837"/>
                </a:lnTo>
                <a:lnTo>
                  <a:pt x="98" y="17885"/>
                </a:lnTo>
                <a:lnTo>
                  <a:pt x="49" y="17934"/>
                </a:lnTo>
                <a:lnTo>
                  <a:pt x="49" y="17983"/>
                </a:lnTo>
                <a:lnTo>
                  <a:pt x="73" y="18031"/>
                </a:lnTo>
                <a:lnTo>
                  <a:pt x="122" y="18056"/>
                </a:lnTo>
                <a:lnTo>
                  <a:pt x="268" y="18056"/>
                </a:lnTo>
                <a:lnTo>
                  <a:pt x="414" y="18080"/>
                </a:lnTo>
                <a:lnTo>
                  <a:pt x="682" y="18177"/>
                </a:lnTo>
                <a:lnTo>
                  <a:pt x="925" y="18299"/>
                </a:lnTo>
                <a:lnTo>
                  <a:pt x="1168" y="18445"/>
                </a:lnTo>
                <a:lnTo>
                  <a:pt x="1412" y="18567"/>
                </a:lnTo>
                <a:lnTo>
                  <a:pt x="1679" y="18688"/>
                </a:lnTo>
                <a:lnTo>
                  <a:pt x="1947" y="18761"/>
                </a:lnTo>
                <a:lnTo>
                  <a:pt x="2093" y="18786"/>
                </a:lnTo>
                <a:lnTo>
                  <a:pt x="2239" y="18810"/>
                </a:lnTo>
                <a:lnTo>
                  <a:pt x="2507" y="18761"/>
                </a:lnTo>
                <a:lnTo>
                  <a:pt x="2750" y="18713"/>
                </a:lnTo>
                <a:lnTo>
                  <a:pt x="2993" y="18615"/>
                </a:lnTo>
                <a:lnTo>
                  <a:pt x="3237" y="18518"/>
                </a:lnTo>
                <a:lnTo>
                  <a:pt x="3748" y="18323"/>
                </a:lnTo>
                <a:lnTo>
                  <a:pt x="3991" y="18250"/>
                </a:lnTo>
                <a:lnTo>
                  <a:pt x="4259" y="18202"/>
                </a:lnTo>
                <a:lnTo>
                  <a:pt x="4380" y="18177"/>
                </a:lnTo>
                <a:lnTo>
                  <a:pt x="4526" y="18202"/>
                </a:lnTo>
                <a:lnTo>
                  <a:pt x="4770" y="18250"/>
                </a:lnTo>
                <a:lnTo>
                  <a:pt x="5013" y="18348"/>
                </a:lnTo>
                <a:lnTo>
                  <a:pt x="5256" y="18469"/>
                </a:lnTo>
                <a:lnTo>
                  <a:pt x="5743" y="18713"/>
                </a:lnTo>
                <a:lnTo>
                  <a:pt x="5986" y="18810"/>
                </a:lnTo>
                <a:lnTo>
                  <a:pt x="6254" y="18859"/>
                </a:lnTo>
                <a:lnTo>
                  <a:pt x="6522" y="18859"/>
                </a:lnTo>
                <a:lnTo>
                  <a:pt x="6765" y="18834"/>
                </a:lnTo>
                <a:lnTo>
                  <a:pt x="6984" y="18786"/>
                </a:lnTo>
                <a:lnTo>
                  <a:pt x="7227" y="18713"/>
                </a:lnTo>
                <a:lnTo>
                  <a:pt x="7665" y="18494"/>
                </a:lnTo>
                <a:lnTo>
                  <a:pt x="8127" y="18299"/>
                </a:lnTo>
                <a:lnTo>
                  <a:pt x="8273" y="18250"/>
                </a:lnTo>
                <a:lnTo>
                  <a:pt x="8395" y="18226"/>
                </a:lnTo>
                <a:lnTo>
                  <a:pt x="8541" y="18226"/>
                </a:lnTo>
                <a:lnTo>
                  <a:pt x="8663" y="18250"/>
                </a:lnTo>
                <a:lnTo>
                  <a:pt x="8930" y="18299"/>
                </a:lnTo>
                <a:lnTo>
                  <a:pt x="9174" y="18396"/>
                </a:lnTo>
                <a:lnTo>
                  <a:pt x="9685" y="18640"/>
                </a:lnTo>
                <a:lnTo>
                  <a:pt x="9928" y="18737"/>
                </a:lnTo>
                <a:lnTo>
                  <a:pt x="10196" y="18810"/>
                </a:lnTo>
                <a:lnTo>
                  <a:pt x="10439" y="18834"/>
                </a:lnTo>
                <a:lnTo>
                  <a:pt x="10682" y="18810"/>
                </a:lnTo>
                <a:lnTo>
                  <a:pt x="10901" y="18761"/>
                </a:lnTo>
                <a:lnTo>
                  <a:pt x="11145" y="18688"/>
                </a:lnTo>
                <a:lnTo>
                  <a:pt x="11583" y="18494"/>
                </a:lnTo>
                <a:lnTo>
                  <a:pt x="12021" y="18299"/>
                </a:lnTo>
                <a:lnTo>
                  <a:pt x="12167" y="18275"/>
                </a:lnTo>
                <a:lnTo>
                  <a:pt x="12313" y="18250"/>
                </a:lnTo>
                <a:lnTo>
                  <a:pt x="12434" y="18250"/>
                </a:lnTo>
                <a:lnTo>
                  <a:pt x="12580" y="18275"/>
                </a:lnTo>
                <a:lnTo>
                  <a:pt x="12848" y="18323"/>
                </a:lnTo>
                <a:lnTo>
                  <a:pt x="13091" y="18421"/>
                </a:lnTo>
                <a:lnTo>
                  <a:pt x="13627" y="18640"/>
                </a:lnTo>
                <a:lnTo>
                  <a:pt x="13894" y="18713"/>
                </a:lnTo>
                <a:lnTo>
                  <a:pt x="14162" y="18761"/>
                </a:lnTo>
                <a:lnTo>
                  <a:pt x="14430" y="18737"/>
                </a:lnTo>
                <a:lnTo>
                  <a:pt x="14697" y="18688"/>
                </a:lnTo>
                <a:lnTo>
                  <a:pt x="15208" y="18567"/>
                </a:lnTo>
                <a:lnTo>
                  <a:pt x="15938" y="18348"/>
                </a:lnTo>
                <a:lnTo>
                  <a:pt x="16692" y="18129"/>
                </a:lnTo>
                <a:lnTo>
                  <a:pt x="16790" y="18080"/>
                </a:lnTo>
                <a:lnTo>
                  <a:pt x="16838" y="18007"/>
                </a:lnTo>
                <a:lnTo>
                  <a:pt x="16863" y="17934"/>
                </a:lnTo>
                <a:lnTo>
                  <a:pt x="16863" y="17837"/>
                </a:lnTo>
                <a:lnTo>
                  <a:pt x="16814" y="17764"/>
                </a:lnTo>
                <a:lnTo>
                  <a:pt x="16765" y="17691"/>
                </a:lnTo>
                <a:lnTo>
                  <a:pt x="16668" y="17666"/>
                </a:lnTo>
                <a:close/>
              </a:path>
            </a:pathLst>
          </a:custGeom>
          <a:solidFill>
            <a:srgbClr val="403228"/>
          </a:solidFill>
          <a:ln>
            <a:noFill/>
          </a:ln>
        </p:spPr>
        <p:txBody>
          <a:bodyPr lIns="121900" tIns="121900" rIns="121900" bIns="121900" anchor="ctr" anchorCtr="0">
            <a:noAutofit/>
          </a:bodyPr>
          <a:lstStyle/>
          <a:p>
            <a:endParaRPr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337143" y="1"/>
            <a:ext cx="667657" cy="667657"/>
          </a:xfrm>
          <a:prstGeom prst="rect">
            <a:avLst/>
          </a:prstGeom>
          <a:solidFill>
            <a:srgbClr val="0C4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2337143" y="798286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337143" y="1596572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12594" y="2803549"/>
            <a:ext cx="884386" cy="504008"/>
          </a:xfrm>
          <a:prstGeom prst="rect">
            <a:avLst/>
          </a:prstGeom>
        </p:spPr>
      </p:pic>
      <p:sp>
        <p:nvSpPr>
          <p:cNvPr id="24" name="Freeform 23"/>
          <p:cNvSpPr>
            <a:spLocks/>
          </p:cNvSpPr>
          <p:nvPr/>
        </p:nvSpPr>
        <p:spPr bwMode="auto">
          <a:xfrm>
            <a:off x="0" y="-639708"/>
            <a:ext cx="12192001" cy="809937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0" y="2685871"/>
            <a:ext cx="7609491" cy="49244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3200" b="1" u="sng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  <a:sym typeface="Arial"/>
              </a:rPr>
              <a:t>e-Procurement @ IOCL</a:t>
            </a:r>
            <a:endParaRPr lang="en-US" sz="3200" b="1" u="sng" dirty="0">
              <a:solidFill>
                <a:prstClr val="white"/>
              </a:solidFill>
              <a:ea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2" name="Rectangle 1"/>
          <p:cNvSpPr/>
          <p:nvPr/>
        </p:nvSpPr>
        <p:spPr>
          <a:xfrm rot="18900000">
            <a:off x="3385103" y="4602610"/>
            <a:ext cx="7678495" cy="488727"/>
          </a:xfrm>
          <a:prstGeom prst="rect">
            <a:avLst/>
          </a:prstGeom>
          <a:solidFill>
            <a:srgbClr val="46B688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12" name="Rectangle 11"/>
          <p:cNvSpPr/>
          <p:nvPr/>
        </p:nvSpPr>
        <p:spPr>
          <a:xfrm rot="18900000">
            <a:off x="6174170" y="975826"/>
            <a:ext cx="7678495" cy="488727"/>
          </a:xfrm>
          <a:prstGeom prst="rect">
            <a:avLst/>
          </a:prstGeom>
          <a:solidFill>
            <a:srgbClr val="206863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3156292" y="1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156292" y="798286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3156292" y="1596572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786860" y="4241070"/>
            <a:ext cx="2035771" cy="110557"/>
            <a:chOff x="-170626" y="0"/>
            <a:chExt cx="13534857" cy="166915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9" name="Parallelogram 18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sym typeface="Arial"/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sym typeface="Arial"/>
              </a:endParaRPr>
            </a:p>
          </p:txBody>
        </p:sp>
        <p:sp>
          <p:nvSpPr>
            <p:cNvPr id="21" name="Parallelogram 20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sym typeface="Arial"/>
              </a:endParaRPr>
            </a:p>
          </p:txBody>
        </p:sp>
      </p:grpSp>
      <p:sp>
        <p:nvSpPr>
          <p:cNvPr id="17" name="Title 1"/>
          <p:cNvSpPr txBox="1">
            <a:spLocks/>
          </p:cNvSpPr>
          <p:nvPr/>
        </p:nvSpPr>
        <p:spPr>
          <a:xfrm>
            <a:off x="157656" y="3563474"/>
            <a:ext cx="7294179" cy="646331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en-US" sz="3200" dirty="0" smtClea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  <a:sym typeface="Arial"/>
              </a:rPr>
              <a:t>GEPNIC by NIC</a:t>
            </a:r>
            <a:endParaRPr lang="en-US" sz="3200" dirty="0">
              <a:solidFill>
                <a:prstClr val="white"/>
              </a:solidFill>
              <a:ea typeface="Segoe UI" panose="020B0502040204020203" pitchFamily="34" charset="0"/>
              <a:cs typeface="Segoe UI" panose="020B0502040204020203" pitchFamily="34" charset="0"/>
              <a:sym typeface="Arial"/>
            </a:endParaRPr>
          </a:p>
        </p:txBody>
      </p:sp>
      <p:sp>
        <p:nvSpPr>
          <p:cNvPr id="23" name="Rectangle 22"/>
          <p:cNvSpPr/>
          <p:nvPr/>
        </p:nvSpPr>
        <p:spPr>
          <a:xfrm rot="18900000">
            <a:off x="7703419" y="1128226"/>
            <a:ext cx="7678495" cy="488727"/>
          </a:xfrm>
          <a:prstGeom prst="rect">
            <a:avLst/>
          </a:prstGeom>
          <a:solidFill>
            <a:srgbClr val="FEA34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2983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 smtClean="0">
                <a:solidFill>
                  <a:prstClr val="white"/>
                </a:solidFill>
              </a:rPr>
              <a:t>Performance Benefits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  <p:sp>
        <p:nvSpPr>
          <p:cNvPr id="18" name="Rounded Rectangle 17"/>
          <p:cNvSpPr/>
          <p:nvPr/>
        </p:nvSpPr>
        <p:spPr>
          <a:xfrm rot="5400000">
            <a:off x="2708703" y="-1077850"/>
            <a:ext cx="410863" cy="5576167"/>
          </a:xfrm>
          <a:prstGeom prst="roundRect">
            <a:avLst>
              <a:gd name="adj" fmla="val 49922"/>
            </a:avLst>
          </a:prstGeom>
          <a:solidFill>
            <a:srgbClr val="46B688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/>
            <a:r>
              <a: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duction in Procurement Lead time</a:t>
            </a:r>
          </a:p>
        </p:txBody>
      </p:sp>
      <p:sp>
        <p:nvSpPr>
          <p:cNvPr id="28" name="Oval 27"/>
          <p:cNvSpPr/>
          <p:nvPr/>
        </p:nvSpPr>
        <p:spPr>
          <a:xfrm>
            <a:off x="50125" y="1418897"/>
            <a:ext cx="807872" cy="582672"/>
          </a:xfrm>
          <a:prstGeom prst="ellipse">
            <a:avLst/>
          </a:prstGeom>
          <a:solidFill>
            <a:srgbClr val="46B688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1" name="Freeform 3136"/>
          <p:cNvSpPr>
            <a:spLocks noEditPoints="1"/>
          </p:cNvSpPr>
          <p:nvPr/>
        </p:nvSpPr>
        <p:spPr bwMode="auto">
          <a:xfrm>
            <a:off x="206876" y="1674133"/>
            <a:ext cx="115353" cy="210031"/>
          </a:xfrm>
          <a:custGeom>
            <a:avLst/>
            <a:gdLst>
              <a:gd name="T0" fmla="*/ 104 w 168"/>
              <a:gd name="T1" fmla="*/ 330 h 385"/>
              <a:gd name="T2" fmla="*/ 98 w 168"/>
              <a:gd name="T3" fmla="*/ 329 h 385"/>
              <a:gd name="T4" fmla="*/ 93 w 168"/>
              <a:gd name="T5" fmla="*/ 326 h 385"/>
              <a:gd name="T6" fmla="*/ 90 w 168"/>
              <a:gd name="T7" fmla="*/ 320 h 385"/>
              <a:gd name="T8" fmla="*/ 88 w 168"/>
              <a:gd name="T9" fmla="*/ 316 h 385"/>
              <a:gd name="T10" fmla="*/ 90 w 168"/>
              <a:gd name="T11" fmla="*/ 310 h 385"/>
              <a:gd name="T12" fmla="*/ 93 w 168"/>
              <a:gd name="T13" fmla="*/ 305 h 385"/>
              <a:gd name="T14" fmla="*/ 98 w 168"/>
              <a:gd name="T15" fmla="*/ 301 h 385"/>
              <a:gd name="T16" fmla="*/ 104 w 168"/>
              <a:gd name="T17" fmla="*/ 300 h 385"/>
              <a:gd name="T18" fmla="*/ 110 w 168"/>
              <a:gd name="T19" fmla="*/ 301 h 385"/>
              <a:gd name="T20" fmla="*/ 115 w 168"/>
              <a:gd name="T21" fmla="*/ 305 h 385"/>
              <a:gd name="T22" fmla="*/ 117 w 168"/>
              <a:gd name="T23" fmla="*/ 310 h 385"/>
              <a:gd name="T24" fmla="*/ 118 w 168"/>
              <a:gd name="T25" fmla="*/ 316 h 385"/>
              <a:gd name="T26" fmla="*/ 117 w 168"/>
              <a:gd name="T27" fmla="*/ 320 h 385"/>
              <a:gd name="T28" fmla="*/ 115 w 168"/>
              <a:gd name="T29" fmla="*/ 326 h 385"/>
              <a:gd name="T30" fmla="*/ 110 w 168"/>
              <a:gd name="T31" fmla="*/ 329 h 385"/>
              <a:gd name="T32" fmla="*/ 104 w 168"/>
              <a:gd name="T33" fmla="*/ 330 h 385"/>
              <a:gd name="T34" fmla="*/ 104 w 168"/>
              <a:gd name="T35" fmla="*/ 330 h 385"/>
              <a:gd name="T36" fmla="*/ 156 w 168"/>
              <a:gd name="T37" fmla="*/ 2 h 385"/>
              <a:gd name="T38" fmla="*/ 13 w 168"/>
              <a:gd name="T39" fmla="*/ 0 h 385"/>
              <a:gd name="T40" fmla="*/ 9 w 168"/>
              <a:gd name="T41" fmla="*/ 2 h 385"/>
              <a:gd name="T42" fmla="*/ 4 w 168"/>
              <a:gd name="T43" fmla="*/ 4 h 385"/>
              <a:gd name="T44" fmla="*/ 2 w 168"/>
              <a:gd name="T45" fmla="*/ 9 h 385"/>
              <a:gd name="T46" fmla="*/ 0 w 168"/>
              <a:gd name="T47" fmla="*/ 14 h 385"/>
              <a:gd name="T48" fmla="*/ 0 w 168"/>
              <a:gd name="T49" fmla="*/ 373 h 385"/>
              <a:gd name="T50" fmla="*/ 2 w 168"/>
              <a:gd name="T51" fmla="*/ 378 h 385"/>
              <a:gd name="T52" fmla="*/ 4 w 168"/>
              <a:gd name="T53" fmla="*/ 381 h 385"/>
              <a:gd name="T54" fmla="*/ 9 w 168"/>
              <a:gd name="T55" fmla="*/ 383 h 385"/>
              <a:gd name="T56" fmla="*/ 13 w 168"/>
              <a:gd name="T57" fmla="*/ 385 h 385"/>
              <a:gd name="T58" fmla="*/ 156 w 168"/>
              <a:gd name="T59" fmla="*/ 385 h 385"/>
              <a:gd name="T60" fmla="*/ 161 w 168"/>
              <a:gd name="T61" fmla="*/ 383 h 385"/>
              <a:gd name="T62" fmla="*/ 165 w 168"/>
              <a:gd name="T63" fmla="*/ 381 h 385"/>
              <a:gd name="T64" fmla="*/ 168 w 168"/>
              <a:gd name="T65" fmla="*/ 378 h 385"/>
              <a:gd name="T66" fmla="*/ 168 w 168"/>
              <a:gd name="T67" fmla="*/ 373 h 385"/>
              <a:gd name="T68" fmla="*/ 168 w 168"/>
              <a:gd name="T69" fmla="*/ 303 h 385"/>
              <a:gd name="T70" fmla="*/ 168 w 168"/>
              <a:gd name="T71" fmla="*/ 72 h 385"/>
              <a:gd name="T72" fmla="*/ 168 w 168"/>
              <a:gd name="T73" fmla="*/ 14 h 385"/>
              <a:gd name="T74" fmla="*/ 168 w 168"/>
              <a:gd name="T75" fmla="*/ 9 h 385"/>
              <a:gd name="T76" fmla="*/ 166 w 168"/>
              <a:gd name="T77" fmla="*/ 5 h 385"/>
              <a:gd name="T78" fmla="*/ 161 w 168"/>
              <a:gd name="T79" fmla="*/ 3 h 385"/>
              <a:gd name="T80" fmla="*/ 156 w 168"/>
              <a:gd name="T81" fmla="*/ 2 h 385"/>
              <a:gd name="T82" fmla="*/ 156 w 168"/>
              <a:gd name="T83" fmla="*/ 2 h 3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8" h="385">
                <a:moveTo>
                  <a:pt x="104" y="330"/>
                </a:moveTo>
                <a:lnTo>
                  <a:pt x="98" y="329"/>
                </a:lnTo>
                <a:lnTo>
                  <a:pt x="93" y="326"/>
                </a:lnTo>
                <a:lnTo>
                  <a:pt x="90" y="320"/>
                </a:lnTo>
                <a:lnTo>
                  <a:pt x="88" y="316"/>
                </a:lnTo>
                <a:lnTo>
                  <a:pt x="90" y="310"/>
                </a:lnTo>
                <a:lnTo>
                  <a:pt x="93" y="305"/>
                </a:lnTo>
                <a:lnTo>
                  <a:pt x="98" y="301"/>
                </a:lnTo>
                <a:lnTo>
                  <a:pt x="104" y="300"/>
                </a:lnTo>
                <a:lnTo>
                  <a:pt x="110" y="301"/>
                </a:lnTo>
                <a:lnTo>
                  <a:pt x="115" y="305"/>
                </a:lnTo>
                <a:lnTo>
                  <a:pt x="117" y="310"/>
                </a:lnTo>
                <a:lnTo>
                  <a:pt x="118" y="316"/>
                </a:lnTo>
                <a:lnTo>
                  <a:pt x="117" y="320"/>
                </a:lnTo>
                <a:lnTo>
                  <a:pt x="115" y="326"/>
                </a:lnTo>
                <a:lnTo>
                  <a:pt x="110" y="329"/>
                </a:lnTo>
                <a:lnTo>
                  <a:pt x="104" y="330"/>
                </a:lnTo>
                <a:lnTo>
                  <a:pt x="104" y="330"/>
                </a:lnTo>
                <a:close/>
                <a:moveTo>
                  <a:pt x="156" y="2"/>
                </a:moveTo>
                <a:lnTo>
                  <a:pt x="13" y="0"/>
                </a:lnTo>
                <a:lnTo>
                  <a:pt x="9" y="2"/>
                </a:lnTo>
                <a:lnTo>
                  <a:pt x="4" y="4"/>
                </a:lnTo>
                <a:lnTo>
                  <a:pt x="2" y="9"/>
                </a:lnTo>
                <a:lnTo>
                  <a:pt x="0" y="14"/>
                </a:lnTo>
                <a:lnTo>
                  <a:pt x="0" y="373"/>
                </a:lnTo>
                <a:lnTo>
                  <a:pt x="2" y="378"/>
                </a:lnTo>
                <a:lnTo>
                  <a:pt x="4" y="381"/>
                </a:lnTo>
                <a:lnTo>
                  <a:pt x="9" y="383"/>
                </a:lnTo>
                <a:lnTo>
                  <a:pt x="13" y="385"/>
                </a:lnTo>
                <a:lnTo>
                  <a:pt x="156" y="385"/>
                </a:lnTo>
                <a:lnTo>
                  <a:pt x="161" y="383"/>
                </a:lnTo>
                <a:lnTo>
                  <a:pt x="165" y="381"/>
                </a:lnTo>
                <a:lnTo>
                  <a:pt x="168" y="378"/>
                </a:lnTo>
                <a:lnTo>
                  <a:pt x="168" y="373"/>
                </a:lnTo>
                <a:lnTo>
                  <a:pt x="168" y="303"/>
                </a:lnTo>
                <a:lnTo>
                  <a:pt x="168" y="72"/>
                </a:lnTo>
                <a:lnTo>
                  <a:pt x="168" y="14"/>
                </a:lnTo>
                <a:lnTo>
                  <a:pt x="168" y="9"/>
                </a:lnTo>
                <a:lnTo>
                  <a:pt x="166" y="5"/>
                </a:lnTo>
                <a:lnTo>
                  <a:pt x="161" y="3"/>
                </a:lnTo>
                <a:lnTo>
                  <a:pt x="156" y="2"/>
                </a:lnTo>
                <a:lnTo>
                  <a:pt x="156" y="2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3135"/>
          <p:cNvSpPr>
            <a:spLocks/>
          </p:cNvSpPr>
          <p:nvPr/>
        </p:nvSpPr>
        <p:spPr bwMode="auto">
          <a:xfrm>
            <a:off x="338709" y="1536302"/>
            <a:ext cx="362537" cy="334738"/>
          </a:xfrm>
          <a:custGeom>
            <a:avLst/>
            <a:gdLst>
              <a:gd name="T0" fmla="*/ 526 w 527"/>
              <a:gd name="T1" fmla="*/ 282 h 612"/>
              <a:gd name="T2" fmla="*/ 523 w 527"/>
              <a:gd name="T3" fmla="*/ 270 h 612"/>
              <a:gd name="T4" fmla="*/ 516 w 527"/>
              <a:gd name="T5" fmla="*/ 255 h 612"/>
              <a:gd name="T6" fmla="*/ 500 w 527"/>
              <a:gd name="T7" fmla="*/ 240 h 612"/>
              <a:gd name="T8" fmla="*/ 484 w 527"/>
              <a:gd name="T9" fmla="*/ 231 h 612"/>
              <a:gd name="T10" fmla="*/ 472 w 527"/>
              <a:gd name="T11" fmla="*/ 229 h 612"/>
              <a:gd name="T12" fmla="*/ 244 w 527"/>
              <a:gd name="T13" fmla="*/ 229 h 612"/>
              <a:gd name="T14" fmla="*/ 256 w 527"/>
              <a:gd name="T15" fmla="*/ 196 h 612"/>
              <a:gd name="T16" fmla="*/ 267 w 527"/>
              <a:gd name="T17" fmla="*/ 154 h 612"/>
              <a:gd name="T18" fmla="*/ 273 w 527"/>
              <a:gd name="T19" fmla="*/ 110 h 612"/>
              <a:gd name="T20" fmla="*/ 273 w 527"/>
              <a:gd name="T21" fmla="*/ 90 h 612"/>
              <a:gd name="T22" fmla="*/ 269 w 527"/>
              <a:gd name="T23" fmla="*/ 71 h 612"/>
              <a:gd name="T24" fmla="*/ 262 w 527"/>
              <a:gd name="T25" fmla="*/ 49 h 612"/>
              <a:gd name="T26" fmla="*/ 252 w 527"/>
              <a:gd name="T27" fmla="*/ 33 h 612"/>
              <a:gd name="T28" fmla="*/ 243 w 527"/>
              <a:gd name="T29" fmla="*/ 21 h 612"/>
              <a:gd name="T30" fmla="*/ 233 w 527"/>
              <a:gd name="T31" fmla="*/ 11 h 612"/>
              <a:gd name="T32" fmla="*/ 215 w 527"/>
              <a:gd name="T33" fmla="*/ 3 h 612"/>
              <a:gd name="T34" fmla="*/ 202 w 527"/>
              <a:gd name="T35" fmla="*/ 0 h 612"/>
              <a:gd name="T36" fmla="*/ 184 w 527"/>
              <a:gd name="T37" fmla="*/ 5 h 612"/>
              <a:gd name="T38" fmla="*/ 169 w 527"/>
              <a:gd name="T39" fmla="*/ 16 h 612"/>
              <a:gd name="T40" fmla="*/ 159 w 527"/>
              <a:gd name="T41" fmla="*/ 33 h 612"/>
              <a:gd name="T42" fmla="*/ 155 w 527"/>
              <a:gd name="T43" fmla="*/ 53 h 612"/>
              <a:gd name="T44" fmla="*/ 151 w 527"/>
              <a:gd name="T45" fmla="*/ 90 h 612"/>
              <a:gd name="T46" fmla="*/ 140 w 527"/>
              <a:gd name="T47" fmla="*/ 127 h 612"/>
              <a:gd name="T48" fmla="*/ 124 w 527"/>
              <a:gd name="T49" fmla="*/ 162 h 612"/>
              <a:gd name="T50" fmla="*/ 102 w 527"/>
              <a:gd name="T51" fmla="*/ 197 h 612"/>
              <a:gd name="T52" fmla="*/ 79 w 527"/>
              <a:gd name="T53" fmla="*/ 226 h 612"/>
              <a:gd name="T54" fmla="*/ 52 w 527"/>
              <a:gd name="T55" fmla="*/ 254 h 612"/>
              <a:gd name="T56" fmla="*/ 26 w 527"/>
              <a:gd name="T57" fmla="*/ 275 h 612"/>
              <a:gd name="T58" fmla="*/ 0 w 527"/>
              <a:gd name="T59" fmla="*/ 291 h 612"/>
              <a:gd name="T60" fmla="*/ 17 w 527"/>
              <a:gd name="T61" fmla="*/ 586 h 612"/>
              <a:gd name="T62" fmla="*/ 48 w 527"/>
              <a:gd name="T63" fmla="*/ 592 h 612"/>
              <a:gd name="T64" fmla="*/ 88 w 527"/>
              <a:gd name="T65" fmla="*/ 602 h 612"/>
              <a:gd name="T66" fmla="*/ 129 w 527"/>
              <a:gd name="T67" fmla="*/ 610 h 612"/>
              <a:gd name="T68" fmla="*/ 161 w 527"/>
              <a:gd name="T69" fmla="*/ 612 h 612"/>
              <a:gd name="T70" fmla="*/ 383 w 527"/>
              <a:gd name="T71" fmla="*/ 612 h 612"/>
              <a:gd name="T72" fmla="*/ 403 w 527"/>
              <a:gd name="T73" fmla="*/ 608 h 612"/>
              <a:gd name="T74" fmla="*/ 419 w 527"/>
              <a:gd name="T75" fmla="*/ 600 h 612"/>
              <a:gd name="T76" fmla="*/ 428 w 527"/>
              <a:gd name="T77" fmla="*/ 585 h 612"/>
              <a:gd name="T78" fmla="*/ 431 w 527"/>
              <a:gd name="T79" fmla="*/ 564 h 612"/>
              <a:gd name="T80" fmla="*/ 428 w 527"/>
              <a:gd name="T81" fmla="*/ 550 h 612"/>
              <a:gd name="T82" fmla="*/ 424 w 527"/>
              <a:gd name="T83" fmla="*/ 538 h 612"/>
              <a:gd name="T84" fmla="*/ 441 w 527"/>
              <a:gd name="T85" fmla="*/ 532 h 612"/>
              <a:gd name="T86" fmla="*/ 455 w 527"/>
              <a:gd name="T87" fmla="*/ 523 h 612"/>
              <a:gd name="T88" fmla="*/ 464 w 527"/>
              <a:gd name="T89" fmla="*/ 508 h 612"/>
              <a:gd name="T90" fmla="*/ 466 w 527"/>
              <a:gd name="T91" fmla="*/ 492 h 612"/>
              <a:gd name="T92" fmla="*/ 464 w 527"/>
              <a:gd name="T93" fmla="*/ 472 h 612"/>
              <a:gd name="T94" fmla="*/ 456 w 527"/>
              <a:gd name="T95" fmla="*/ 455 h 612"/>
              <a:gd name="T96" fmla="*/ 475 w 527"/>
              <a:gd name="T97" fmla="*/ 447 h 612"/>
              <a:gd name="T98" fmla="*/ 489 w 527"/>
              <a:gd name="T99" fmla="*/ 433 h 612"/>
              <a:gd name="T100" fmla="*/ 499 w 527"/>
              <a:gd name="T101" fmla="*/ 416 h 612"/>
              <a:gd name="T102" fmla="*/ 502 w 527"/>
              <a:gd name="T103" fmla="*/ 397 h 612"/>
              <a:gd name="T104" fmla="*/ 501 w 527"/>
              <a:gd name="T105" fmla="*/ 386 h 612"/>
              <a:gd name="T106" fmla="*/ 497 w 527"/>
              <a:gd name="T107" fmla="*/ 375 h 612"/>
              <a:gd name="T108" fmla="*/ 484 w 527"/>
              <a:gd name="T109" fmla="*/ 357 h 612"/>
              <a:gd name="T110" fmla="*/ 503 w 527"/>
              <a:gd name="T111" fmla="*/ 345 h 612"/>
              <a:gd name="T112" fmla="*/ 516 w 527"/>
              <a:gd name="T113" fmla="*/ 329 h 612"/>
              <a:gd name="T114" fmla="*/ 523 w 527"/>
              <a:gd name="T115" fmla="*/ 309 h 612"/>
              <a:gd name="T116" fmla="*/ 527 w 527"/>
              <a:gd name="T117" fmla="*/ 288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27" h="612">
                <a:moveTo>
                  <a:pt x="527" y="288"/>
                </a:moveTo>
                <a:lnTo>
                  <a:pt x="526" y="282"/>
                </a:lnTo>
                <a:lnTo>
                  <a:pt x="526" y="276"/>
                </a:lnTo>
                <a:lnTo>
                  <a:pt x="523" y="270"/>
                </a:lnTo>
                <a:lnTo>
                  <a:pt x="522" y="266"/>
                </a:lnTo>
                <a:lnTo>
                  <a:pt x="516" y="255"/>
                </a:lnTo>
                <a:lnTo>
                  <a:pt x="509" y="247"/>
                </a:lnTo>
                <a:lnTo>
                  <a:pt x="500" y="240"/>
                </a:lnTo>
                <a:lnTo>
                  <a:pt x="489" y="234"/>
                </a:lnTo>
                <a:lnTo>
                  <a:pt x="484" y="231"/>
                </a:lnTo>
                <a:lnTo>
                  <a:pt x="478" y="230"/>
                </a:lnTo>
                <a:lnTo>
                  <a:pt x="472" y="229"/>
                </a:lnTo>
                <a:lnTo>
                  <a:pt x="466" y="229"/>
                </a:lnTo>
                <a:lnTo>
                  <a:pt x="244" y="229"/>
                </a:lnTo>
                <a:lnTo>
                  <a:pt x="250" y="213"/>
                </a:lnTo>
                <a:lnTo>
                  <a:pt x="256" y="196"/>
                </a:lnTo>
                <a:lnTo>
                  <a:pt x="261" y="175"/>
                </a:lnTo>
                <a:lnTo>
                  <a:pt x="267" y="154"/>
                </a:lnTo>
                <a:lnTo>
                  <a:pt x="270" y="131"/>
                </a:lnTo>
                <a:lnTo>
                  <a:pt x="273" y="110"/>
                </a:lnTo>
                <a:lnTo>
                  <a:pt x="273" y="99"/>
                </a:lnTo>
                <a:lnTo>
                  <a:pt x="273" y="90"/>
                </a:lnTo>
                <a:lnTo>
                  <a:pt x="271" y="80"/>
                </a:lnTo>
                <a:lnTo>
                  <a:pt x="269" y="71"/>
                </a:lnTo>
                <a:lnTo>
                  <a:pt x="265" y="60"/>
                </a:lnTo>
                <a:lnTo>
                  <a:pt x="262" y="49"/>
                </a:lnTo>
                <a:lnTo>
                  <a:pt x="257" y="41"/>
                </a:lnTo>
                <a:lnTo>
                  <a:pt x="252" y="33"/>
                </a:lnTo>
                <a:lnTo>
                  <a:pt x="248" y="25"/>
                </a:lnTo>
                <a:lnTo>
                  <a:pt x="243" y="21"/>
                </a:lnTo>
                <a:lnTo>
                  <a:pt x="238" y="16"/>
                </a:lnTo>
                <a:lnTo>
                  <a:pt x="233" y="11"/>
                </a:lnTo>
                <a:lnTo>
                  <a:pt x="224" y="6"/>
                </a:lnTo>
                <a:lnTo>
                  <a:pt x="215" y="3"/>
                </a:lnTo>
                <a:lnTo>
                  <a:pt x="208" y="2"/>
                </a:lnTo>
                <a:lnTo>
                  <a:pt x="202" y="0"/>
                </a:lnTo>
                <a:lnTo>
                  <a:pt x="193" y="2"/>
                </a:lnTo>
                <a:lnTo>
                  <a:pt x="184" y="5"/>
                </a:lnTo>
                <a:lnTo>
                  <a:pt x="176" y="10"/>
                </a:lnTo>
                <a:lnTo>
                  <a:pt x="169" y="16"/>
                </a:lnTo>
                <a:lnTo>
                  <a:pt x="163" y="23"/>
                </a:lnTo>
                <a:lnTo>
                  <a:pt x="159" y="33"/>
                </a:lnTo>
                <a:lnTo>
                  <a:pt x="156" y="42"/>
                </a:lnTo>
                <a:lnTo>
                  <a:pt x="155" y="53"/>
                </a:lnTo>
                <a:lnTo>
                  <a:pt x="155" y="71"/>
                </a:lnTo>
                <a:lnTo>
                  <a:pt x="151" y="90"/>
                </a:lnTo>
                <a:lnTo>
                  <a:pt x="146" y="109"/>
                </a:lnTo>
                <a:lnTo>
                  <a:pt x="140" y="127"/>
                </a:lnTo>
                <a:lnTo>
                  <a:pt x="133" y="144"/>
                </a:lnTo>
                <a:lnTo>
                  <a:pt x="124" y="162"/>
                </a:lnTo>
                <a:lnTo>
                  <a:pt x="114" y="180"/>
                </a:lnTo>
                <a:lnTo>
                  <a:pt x="102" y="197"/>
                </a:lnTo>
                <a:lnTo>
                  <a:pt x="91" y="212"/>
                </a:lnTo>
                <a:lnTo>
                  <a:pt x="79" y="226"/>
                </a:lnTo>
                <a:lnTo>
                  <a:pt x="66" y="241"/>
                </a:lnTo>
                <a:lnTo>
                  <a:pt x="52" y="254"/>
                </a:lnTo>
                <a:lnTo>
                  <a:pt x="39" y="266"/>
                </a:lnTo>
                <a:lnTo>
                  <a:pt x="26" y="275"/>
                </a:lnTo>
                <a:lnTo>
                  <a:pt x="12" y="284"/>
                </a:lnTo>
                <a:lnTo>
                  <a:pt x="0" y="291"/>
                </a:lnTo>
                <a:lnTo>
                  <a:pt x="0" y="582"/>
                </a:lnTo>
                <a:lnTo>
                  <a:pt x="17" y="586"/>
                </a:lnTo>
                <a:lnTo>
                  <a:pt x="32" y="588"/>
                </a:lnTo>
                <a:lnTo>
                  <a:pt x="48" y="592"/>
                </a:lnTo>
                <a:lnTo>
                  <a:pt x="61" y="595"/>
                </a:lnTo>
                <a:lnTo>
                  <a:pt x="88" y="602"/>
                </a:lnTo>
                <a:lnTo>
                  <a:pt x="114" y="607"/>
                </a:lnTo>
                <a:lnTo>
                  <a:pt x="129" y="610"/>
                </a:lnTo>
                <a:lnTo>
                  <a:pt x="144" y="611"/>
                </a:lnTo>
                <a:lnTo>
                  <a:pt x="161" y="612"/>
                </a:lnTo>
                <a:lnTo>
                  <a:pt x="180" y="612"/>
                </a:lnTo>
                <a:lnTo>
                  <a:pt x="383" y="612"/>
                </a:lnTo>
                <a:lnTo>
                  <a:pt x="394" y="611"/>
                </a:lnTo>
                <a:lnTo>
                  <a:pt x="403" y="608"/>
                </a:lnTo>
                <a:lnTo>
                  <a:pt x="412" y="605"/>
                </a:lnTo>
                <a:lnTo>
                  <a:pt x="419" y="600"/>
                </a:lnTo>
                <a:lnTo>
                  <a:pt x="424" y="593"/>
                </a:lnTo>
                <a:lnTo>
                  <a:pt x="428" y="585"/>
                </a:lnTo>
                <a:lnTo>
                  <a:pt x="430" y="575"/>
                </a:lnTo>
                <a:lnTo>
                  <a:pt x="431" y="564"/>
                </a:lnTo>
                <a:lnTo>
                  <a:pt x="431" y="557"/>
                </a:lnTo>
                <a:lnTo>
                  <a:pt x="428" y="550"/>
                </a:lnTo>
                <a:lnTo>
                  <a:pt x="426" y="544"/>
                </a:lnTo>
                <a:lnTo>
                  <a:pt x="424" y="538"/>
                </a:lnTo>
                <a:lnTo>
                  <a:pt x="433" y="536"/>
                </a:lnTo>
                <a:lnTo>
                  <a:pt x="441" y="532"/>
                </a:lnTo>
                <a:lnTo>
                  <a:pt x="449" y="527"/>
                </a:lnTo>
                <a:lnTo>
                  <a:pt x="455" y="523"/>
                </a:lnTo>
                <a:lnTo>
                  <a:pt x="460" y="516"/>
                </a:lnTo>
                <a:lnTo>
                  <a:pt x="464" y="508"/>
                </a:lnTo>
                <a:lnTo>
                  <a:pt x="466" y="501"/>
                </a:lnTo>
                <a:lnTo>
                  <a:pt x="466" y="492"/>
                </a:lnTo>
                <a:lnTo>
                  <a:pt x="466" y="481"/>
                </a:lnTo>
                <a:lnTo>
                  <a:pt x="464" y="472"/>
                </a:lnTo>
                <a:lnTo>
                  <a:pt x="460" y="462"/>
                </a:lnTo>
                <a:lnTo>
                  <a:pt x="456" y="455"/>
                </a:lnTo>
                <a:lnTo>
                  <a:pt x="465" y="451"/>
                </a:lnTo>
                <a:lnTo>
                  <a:pt x="475" y="447"/>
                </a:lnTo>
                <a:lnTo>
                  <a:pt x="482" y="441"/>
                </a:lnTo>
                <a:lnTo>
                  <a:pt x="489" y="433"/>
                </a:lnTo>
                <a:lnTo>
                  <a:pt x="495" y="425"/>
                </a:lnTo>
                <a:lnTo>
                  <a:pt x="499" y="416"/>
                </a:lnTo>
                <a:lnTo>
                  <a:pt x="502" y="406"/>
                </a:lnTo>
                <a:lnTo>
                  <a:pt x="502" y="397"/>
                </a:lnTo>
                <a:lnTo>
                  <a:pt x="502" y="391"/>
                </a:lnTo>
                <a:lnTo>
                  <a:pt x="501" y="386"/>
                </a:lnTo>
                <a:lnTo>
                  <a:pt x="500" y="380"/>
                </a:lnTo>
                <a:lnTo>
                  <a:pt x="497" y="375"/>
                </a:lnTo>
                <a:lnTo>
                  <a:pt x="491" y="366"/>
                </a:lnTo>
                <a:lnTo>
                  <a:pt x="484" y="357"/>
                </a:lnTo>
                <a:lnTo>
                  <a:pt x="495" y="353"/>
                </a:lnTo>
                <a:lnTo>
                  <a:pt x="503" y="345"/>
                </a:lnTo>
                <a:lnTo>
                  <a:pt x="510" y="338"/>
                </a:lnTo>
                <a:lnTo>
                  <a:pt x="516" y="329"/>
                </a:lnTo>
                <a:lnTo>
                  <a:pt x="521" y="319"/>
                </a:lnTo>
                <a:lnTo>
                  <a:pt x="523" y="309"/>
                </a:lnTo>
                <a:lnTo>
                  <a:pt x="526" y="298"/>
                </a:lnTo>
                <a:lnTo>
                  <a:pt x="527" y="288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xmlns="" val="136924448"/>
              </p:ext>
            </p:extLst>
          </p:nvPr>
        </p:nvGraphicFramePr>
        <p:xfrm>
          <a:off x="206876" y="2232799"/>
          <a:ext cx="11769410" cy="4420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7069484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ed Rectangle 30"/>
          <p:cNvSpPr/>
          <p:nvPr/>
        </p:nvSpPr>
        <p:spPr>
          <a:xfrm rot="5400000">
            <a:off x="9923785" y="-273464"/>
            <a:ext cx="410863" cy="3967400"/>
          </a:xfrm>
          <a:prstGeom prst="roundRect">
            <a:avLst>
              <a:gd name="adj" fmla="val 50000"/>
            </a:avLst>
          </a:prstGeom>
          <a:solidFill>
            <a:srgbClr val="F36F21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200" b="1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evented CO2 release</a:t>
            </a:r>
          </a:p>
        </p:txBody>
      </p:sp>
      <p:sp>
        <p:nvSpPr>
          <p:cNvPr id="32" name="Oval 31"/>
          <p:cNvSpPr/>
          <p:nvPr/>
        </p:nvSpPr>
        <p:spPr>
          <a:xfrm>
            <a:off x="11319400" y="1418897"/>
            <a:ext cx="807872" cy="582672"/>
          </a:xfrm>
          <a:prstGeom prst="ellipse">
            <a:avLst/>
          </a:prstGeom>
          <a:solidFill>
            <a:srgbClr val="F36F21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 smtClean="0">
                <a:solidFill>
                  <a:prstClr val="white"/>
                </a:solidFill>
              </a:rPr>
              <a:t>Green Benefits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  <p:sp>
        <p:nvSpPr>
          <p:cNvPr id="18" name="Rounded Rectangle 17"/>
          <p:cNvSpPr/>
          <p:nvPr/>
        </p:nvSpPr>
        <p:spPr>
          <a:xfrm rot="5400000">
            <a:off x="1929971" y="-187261"/>
            <a:ext cx="432000" cy="3780000"/>
          </a:xfrm>
          <a:prstGeom prst="roundRect">
            <a:avLst>
              <a:gd name="adj" fmla="val 50000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/>
            <a:r>
              <a:rPr lang="en-US" sz="2200" b="1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perless Process</a:t>
            </a:r>
            <a:endParaRPr lang="en-US" sz="2200" b="1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50125" y="1418897"/>
            <a:ext cx="807872" cy="582672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206876" y="1536302"/>
            <a:ext cx="494369" cy="347862"/>
            <a:chOff x="7600950" y="779464"/>
            <a:chExt cx="285751" cy="252411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1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135"/>
            <p:cNvSpPr>
              <a:spLocks/>
            </p:cNvSpPr>
            <p:nvPr/>
          </p:nvSpPr>
          <p:spPr bwMode="auto">
            <a:xfrm>
              <a:off x="7677151" y="779464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Rounded Rectangle 22"/>
          <p:cNvSpPr/>
          <p:nvPr/>
        </p:nvSpPr>
        <p:spPr>
          <a:xfrm rot="5400000">
            <a:off x="5857074" y="-179765"/>
            <a:ext cx="410863" cy="3780000"/>
          </a:xfrm>
          <a:prstGeom prst="roundRect">
            <a:avLst>
              <a:gd name="adj" fmla="val 50000"/>
            </a:avLst>
          </a:prstGeom>
          <a:solidFill>
            <a:srgbClr val="00B0F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200" b="1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ees Saved</a:t>
            </a:r>
            <a:endParaRPr lang="en-US" sz="2200" b="1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7201029" y="1418897"/>
            <a:ext cx="807872" cy="582672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11476152" y="1536302"/>
            <a:ext cx="494369" cy="347862"/>
            <a:chOff x="7600950" y="779464"/>
            <a:chExt cx="285750" cy="252411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6" name="Freeform 3135"/>
            <p:cNvSpPr>
              <a:spLocks/>
            </p:cNvSpPr>
            <p:nvPr/>
          </p:nvSpPr>
          <p:spPr bwMode="auto">
            <a:xfrm>
              <a:off x="7677150" y="779464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7357781" y="1536302"/>
            <a:ext cx="494369" cy="347862"/>
            <a:chOff x="7600950" y="779464"/>
            <a:chExt cx="285750" cy="252411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34" name="Freeform 3135"/>
            <p:cNvSpPr>
              <a:spLocks/>
            </p:cNvSpPr>
            <p:nvPr/>
          </p:nvSpPr>
          <p:spPr bwMode="auto">
            <a:xfrm>
              <a:off x="7677150" y="779464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28" name="Chart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9775120"/>
              </p:ext>
            </p:extLst>
          </p:nvPr>
        </p:nvGraphicFramePr>
        <p:xfrm>
          <a:off x="50124" y="2025423"/>
          <a:ext cx="3808861" cy="4611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" name="Chart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85863200"/>
              </p:ext>
            </p:extLst>
          </p:nvPr>
        </p:nvGraphicFramePr>
        <p:xfrm>
          <a:off x="4197123" y="2025423"/>
          <a:ext cx="3811778" cy="4640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8" name="Chart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3234719"/>
              </p:ext>
            </p:extLst>
          </p:nvPr>
        </p:nvGraphicFramePr>
        <p:xfrm>
          <a:off x="8145516" y="2025423"/>
          <a:ext cx="3967401" cy="4675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xmlns="" val="228025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 smtClean="0">
                <a:solidFill>
                  <a:prstClr val="white"/>
                </a:solidFill>
              </a:rPr>
              <a:t>Awards and Recognition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50124" y="1419515"/>
            <a:ext cx="5751585" cy="817245"/>
          </a:xfrm>
          <a:prstGeom prst="roundRect">
            <a:avLst/>
          </a:prstGeom>
          <a:solidFill>
            <a:srgbClr val="FCC5A7">
              <a:alpha val="40000"/>
            </a:srgbClr>
          </a:solidFill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2400" spc="-6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-GOV </a:t>
            </a:r>
            <a:r>
              <a:rPr lang="en-US" sz="2400" spc="-6" dirty="0">
                <a:solidFill>
                  <a:schemeClr val="accent3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ward for e-Procurement </a:t>
            </a:r>
            <a:r>
              <a:rPr lang="en-US" sz="2400" spc="-6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lution, July 2013</a:t>
            </a:r>
            <a:endParaRPr lang="en-US" sz="2400" spc="-6" dirty="0">
              <a:solidFill>
                <a:schemeClr val="accent3">
                  <a:lumMod val="40000"/>
                  <a:lumOff val="6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6295697" y="1419515"/>
            <a:ext cx="5812220" cy="1225868"/>
          </a:xfrm>
          <a:prstGeom prst="roundRect">
            <a:avLst/>
          </a:prstGeom>
          <a:solidFill>
            <a:srgbClr val="FFFFFF">
              <a:alpha val="80000"/>
            </a:srgbClr>
          </a:solidFill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IN" sz="2400" b="1" spc="-6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st </a:t>
            </a:r>
            <a:r>
              <a:rPr lang="en-IN" sz="2400" b="1" spc="-6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er Award in </a:t>
            </a:r>
            <a:r>
              <a:rPr lang="en-IN" sz="2400" b="1" spc="-6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-Tendering</a:t>
            </a:r>
          </a:p>
          <a:p>
            <a:pPr algn="ctr"/>
            <a:r>
              <a:rPr lang="en-IN" sz="2400" spc="-6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pt</a:t>
            </a:r>
            <a:r>
              <a:rPr lang="en-IN" sz="2400" spc="-6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of Expenditure (Ministry of Finance), </a:t>
            </a:r>
            <a:endParaRPr lang="en-IN" sz="2400" spc="-6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IN" sz="2400" spc="-6" dirty="0" err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itY</a:t>
            </a:r>
            <a:r>
              <a:rPr lang="en-IN" sz="2400" spc="-6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IN" sz="2400" spc="-6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nd NIC, January 2018.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23900" y="2342721"/>
            <a:ext cx="1740671" cy="450164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/>
          <a:srcRect l="2590" r="2614" b="2800"/>
          <a:stretch/>
        </p:blipFill>
        <p:spPr>
          <a:xfrm>
            <a:off x="7283669" y="2710375"/>
            <a:ext cx="3836276" cy="410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24953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nip Single Corner Rectangle 2"/>
          <p:cNvSpPr/>
          <p:nvPr/>
        </p:nvSpPr>
        <p:spPr>
          <a:xfrm flipH="1">
            <a:off x="0" y="0"/>
            <a:ext cx="12192000" cy="6858000"/>
          </a:xfrm>
          <a:prstGeom prst="snip1Rect">
            <a:avLst>
              <a:gd name="adj" fmla="val 45556"/>
            </a:avLst>
          </a:prstGeom>
          <a:gradFill>
            <a:gsLst>
              <a:gs pos="0">
                <a:srgbClr val="0C4068"/>
              </a:gs>
              <a:gs pos="50000">
                <a:srgbClr val="46B688">
                  <a:alpha val="70000"/>
                </a:srgbClr>
              </a:gs>
              <a:gs pos="100000">
                <a:srgbClr val="016AA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2337143" y="1"/>
            <a:ext cx="667657" cy="667657"/>
          </a:xfrm>
          <a:prstGeom prst="rect">
            <a:avLst/>
          </a:prstGeom>
          <a:solidFill>
            <a:srgbClr val="0C40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2337143" y="798286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2337143" y="1596572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-4611408" y="1132113"/>
            <a:ext cx="10467560" cy="4115512"/>
            <a:chOff x="5144303" y="3523114"/>
            <a:chExt cx="10467560" cy="4115512"/>
          </a:xfrm>
        </p:grpSpPr>
        <p:sp>
          <p:nvSpPr>
            <p:cNvPr id="2" name="Rectangle 1"/>
            <p:cNvSpPr/>
            <p:nvPr/>
          </p:nvSpPr>
          <p:spPr>
            <a:xfrm rot="18900000">
              <a:off x="5144303" y="7149899"/>
              <a:ext cx="7678494" cy="48872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sym typeface="Arial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 rot="18900000">
              <a:off x="7933369" y="3523114"/>
              <a:ext cx="7678494" cy="48872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sym typeface="Arial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13156292" y="1"/>
            <a:ext cx="667657" cy="667657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156292" y="798286"/>
            <a:ext cx="667657" cy="667657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3156292" y="1596572"/>
            <a:ext cx="667657" cy="667657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sym typeface="Arial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5078116" y="4871834"/>
            <a:ext cx="2035771" cy="110557"/>
            <a:chOff x="-170626" y="0"/>
            <a:chExt cx="13534857" cy="166915"/>
          </a:xfrm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9" name="Parallelogram 18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sym typeface="Arial"/>
              </a:endParaRPr>
            </a:p>
          </p:txBody>
        </p:sp>
        <p:sp>
          <p:nvSpPr>
            <p:cNvPr id="20" name="Parallelogram 19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sym typeface="Arial"/>
              </a:endParaRPr>
            </a:p>
          </p:txBody>
        </p:sp>
        <p:sp>
          <p:nvSpPr>
            <p:cNvPr id="21" name="Parallelogram 20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sym typeface="Arial"/>
              </a:endParaRPr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54310" y="1163898"/>
            <a:ext cx="6095238" cy="3707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1306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6274620" y="-584847"/>
            <a:ext cx="23007485" cy="8820000"/>
          </a:xfrm>
          <a:custGeom>
            <a:avLst/>
            <a:gdLst>
              <a:gd name="T0" fmla="*/ 471 w 542"/>
              <a:gd name="T1" fmla="*/ 110 h 359"/>
              <a:gd name="T2" fmla="*/ 494 w 542"/>
              <a:gd name="T3" fmla="*/ 124 h 359"/>
              <a:gd name="T4" fmla="*/ 473 w 542"/>
              <a:gd name="T5" fmla="*/ 118 h 359"/>
              <a:gd name="T6" fmla="*/ 352 w 542"/>
              <a:gd name="T7" fmla="*/ 60 h 359"/>
              <a:gd name="T8" fmla="*/ 361 w 542"/>
              <a:gd name="T9" fmla="*/ 68 h 359"/>
              <a:gd name="T10" fmla="*/ 315 w 542"/>
              <a:gd name="T11" fmla="*/ 52 h 359"/>
              <a:gd name="T12" fmla="*/ 341 w 542"/>
              <a:gd name="T13" fmla="*/ 68 h 359"/>
              <a:gd name="T14" fmla="*/ 369 w 542"/>
              <a:gd name="T15" fmla="*/ 86 h 359"/>
              <a:gd name="T16" fmla="*/ 325 w 542"/>
              <a:gd name="T17" fmla="*/ 66 h 359"/>
              <a:gd name="T18" fmla="*/ 304 w 542"/>
              <a:gd name="T19" fmla="*/ 63 h 359"/>
              <a:gd name="T20" fmla="*/ 254 w 542"/>
              <a:gd name="T21" fmla="*/ 49 h 359"/>
              <a:gd name="T22" fmla="*/ 302 w 542"/>
              <a:gd name="T23" fmla="*/ 75 h 359"/>
              <a:gd name="T24" fmla="*/ 245 w 542"/>
              <a:gd name="T25" fmla="*/ 49 h 359"/>
              <a:gd name="T26" fmla="*/ 240 w 542"/>
              <a:gd name="T27" fmla="*/ 54 h 359"/>
              <a:gd name="T28" fmla="*/ 217 w 542"/>
              <a:gd name="T29" fmla="*/ 54 h 359"/>
              <a:gd name="T30" fmla="*/ 215 w 542"/>
              <a:gd name="T31" fmla="*/ 65 h 359"/>
              <a:gd name="T32" fmla="*/ 211 w 542"/>
              <a:gd name="T33" fmla="*/ 69 h 359"/>
              <a:gd name="T34" fmla="*/ 270 w 542"/>
              <a:gd name="T35" fmla="*/ 101 h 359"/>
              <a:gd name="T36" fmla="*/ 242 w 542"/>
              <a:gd name="T37" fmla="*/ 92 h 359"/>
              <a:gd name="T38" fmla="*/ 149 w 542"/>
              <a:gd name="T39" fmla="*/ 52 h 359"/>
              <a:gd name="T40" fmla="*/ 101 w 542"/>
              <a:gd name="T41" fmla="*/ 27 h 359"/>
              <a:gd name="T42" fmla="*/ 123 w 542"/>
              <a:gd name="T43" fmla="*/ 42 h 359"/>
              <a:gd name="T44" fmla="*/ 159 w 542"/>
              <a:gd name="T45" fmla="*/ 62 h 359"/>
              <a:gd name="T46" fmla="*/ 118 w 542"/>
              <a:gd name="T47" fmla="*/ 46 h 359"/>
              <a:gd name="T48" fmla="*/ 108 w 542"/>
              <a:gd name="T49" fmla="*/ 52 h 359"/>
              <a:gd name="T50" fmla="*/ 14 w 542"/>
              <a:gd name="T51" fmla="*/ 2 h 359"/>
              <a:gd name="T52" fmla="*/ 36 w 542"/>
              <a:gd name="T53" fmla="*/ 19 h 359"/>
              <a:gd name="T54" fmla="*/ 35 w 542"/>
              <a:gd name="T55" fmla="*/ 27 h 359"/>
              <a:gd name="T56" fmla="*/ 21 w 542"/>
              <a:gd name="T57" fmla="*/ 35 h 359"/>
              <a:gd name="T58" fmla="*/ 0 w 542"/>
              <a:gd name="T59" fmla="*/ 108 h 359"/>
              <a:gd name="T60" fmla="*/ 3 w 542"/>
              <a:gd name="T61" fmla="*/ 221 h 359"/>
              <a:gd name="T62" fmla="*/ 75 w 542"/>
              <a:gd name="T63" fmla="*/ 257 h 359"/>
              <a:gd name="T64" fmla="*/ 99 w 542"/>
              <a:gd name="T65" fmla="*/ 264 h 359"/>
              <a:gd name="T66" fmla="*/ 28 w 542"/>
              <a:gd name="T67" fmla="*/ 229 h 359"/>
              <a:gd name="T68" fmla="*/ 169 w 542"/>
              <a:gd name="T69" fmla="*/ 290 h 359"/>
              <a:gd name="T70" fmla="*/ 204 w 542"/>
              <a:gd name="T71" fmla="*/ 306 h 359"/>
              <a:gd name="T72" fmla="*/ 218 w 542"/>
              <a:gd name="T73" fmla="*/ 308 h 359"/>
              <a:gd name="T74" fmla="*/ 208 w 542"/>
              <a:gd name="T75" fmla="*/ 294 h 359"/>
              <a:gd name="T76" fmla="*/ 150 w 542"/>
              <a:gd name="T77" fmla="*/ 267 h 359"/>
              <a:gd name="T78" fmla="*/ 226 w 542"/>
              <a:gd name="T79" fmla="*/ 299 h 359"/>
              <a:gd name="T80" fmla="*/ 250 w 542"/>
              <a:gd name="T81" fmla="*/ 305 h 359"/>
              <a:gd name="T82" fmla="*/ 275 w 542"/>
              <a:gd name="T83" fmla="*/ 305 h 359"/>
              <a:gd name="T84" fmla="*/ 242 w 542"/>
              <a:gd name="T85" fmla="*/ 287 h 359"/>
              <a:gd name="T86" fmla="*/ 263 w 542"/>
              <a:gd name="T87" fmla="*/ 294 h 359"/>
              <a:gd name="T88" fmla="*/ 307 w 542"/>
              <a:gd name="T89" fmla="*/ 304 h 359"/>
              <a:gd name="T90" fmla="*/ 317 w 542"/>
              <a:gd name="T91" fmla="*/ 302 h 359"/>
              <a:gd name="T92" fmla="*/ 328 w 542"/>
              <a:gd name="T93" fmla="*/ 298 h 359"/>
              <a:gd name="T94" fmla="*/ 344 w 542"/>
              <a:gd name="T95" fmla="*/ 299 h 359"/>
              <a:gd name="T96" fmla="*/ 277 w 542"/>
              <a:gd name="T97" fmla="*/ 263 h 359"/>
              <a:gd name="T98" fmla="*/ 293 w 542"/>
              <a:gd name="T99" fmla="*/ 267 h 359"/>
              <a:gd name="T100" fmla="*/ 380 w 542"/>
              <a:gd name="T101" fmla="*/ 302 h 359"/>
              <a:gd name="T102" fmla="*/ 448 w 542"/>
              <a:gd name="T103" fmla="*/ 334 h 359"/>
              <a:gd name="T104" fmla="*/ 414 w 542"/>
              <a:gd name="T105" fmla="*/ 314 h 359"/>
              <a:gd name="T106" fmla="*/ 385 w 542"/>
              <a:gd name="T107" fmla="*/ 303 h 359"/>
              <a:gd name="T108" fmla="*/ 396 w 542"/>
              <a:gd name="T109" fmla="*/ 300 h 359"/>
              <a:gd name="T110" fmla="*/ 460 w 542"/>
              <a:gd name="T111" fmla="*/ 320 h 359"/>
              <a:gd name="T112" fmla="*/ 519 w 542"/>
              <a:gd name="T113" fmla="*/ 351 h 359"/>
              <a:gd name="T114" fmla="*/ 509 w 542"/>
              <a:gd name="T115" fmla="*/ 341 h 359"/>
              <a:gd name="T116" fmla="*/ 503 w 542"/>
              <a:gd name="T117" fmla="*/ 328 h 359"/>
              <a:gd name="T118" fmla="*/ 504 w 542"/>
              <a:gd name="T119" fmla="*/ 317 h 359"/>
              <a:gd name="T120" fmla="*/ 541 w 542"/>
              <a:gd name="T121" fmla="*/ 254 h 359"/>
              <a:gd name="T122" fmla="*/ 542 w 542"/>
              <a:gd name="T123" fmla="*/ 147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42" h="359">
                <a:moveTo>
                  <a:pt x="542" y="144"/>
                </a:moveTo>
                <a:cubicBezTo>
                  <a:pt x="542" y="139"/>
                  <a:pt x="542" y="139"/>
                  <a:pt x="542" y="139"/>
                </a:cubicBezTo>
                <a:cubicBezTo>
                  <a:pt x="537" y="139"/>
                  <a:pt x="537" y="139"/>
                  <a:pt x="537" y="139"/>
                </a:cubicBezTo>
                <a:cubicBezTo>
                  <a:pt x="529" y="135"/>
                  <a:pt x="522" y="131"/>
                  <a:pt x="514" y="127"/>
                </a:cubicBezTo>
                <a:cubicBezTo>
                  <a:pt x="500" y="120"/>
                  <a:pt x="485" y="114"/>
                  <a:pt x="472" y="106"/>
                </a:cubicBezTo>
                <a:cubicBezTo>
                  <a:pt x="472" y="106"/>
                  <a:pt x="472" y="106"/>
                  <a:pt x="472" y="106"/>
                </a:cubicBezTo>
                <a:cubicBezTo>
                  <a:pt x="470" y="105"/>
                  <a:pt x="469" y="104"/>
                  <a:pt x="466" y="104"/>
                </a:cubicBezTo>
                <a:cubicBezTo>
                  <a:pt x="464" y="103"/>
                  <a:pt x="463" y="102"/>
                  <a:pt x="461" y="101"/>
                </a:cubicBezTo>
                <a:cubicBezTo>
                  <a:pt x="462" y="102"/>
                  <a:pt x="465" y="104"/>
                  <a:pt x="465" y="104"/>
                </a:cubicBezTo>
                <a:cubicBezTo>
                  <a:pt x="466" y="105"/>
                  <a:pt x="467" y="105"/>
                  <a:pt x="467" y="105"/>
                </a:cubicBezTo>
                <a:cubicBezTo>
                  <a:pt x="468" y="106"/>
                  <a:pt x="470" y="107"/>
                  <a:pt x="470" y="107"/>
                </a:cubicBezTo>
                <a:cubicBezTo>
                  <a:pt x="468" y="107"/>
                  <a:pt x="472" y="108"/>
                  <a:pt x="471" y="109"/>
                </a:cubicBezTo>
                <a:cubicBezTo>
                  <a:pt x="470" y="109"/>
                  <a:pt x="469" y="108"/>
                  <a:pt x="469" y="108"/>
                </a:cubicBezTo>
                <a:cubicBezTo>
                  <a:pt x="469" y="109"/>
                  <a:pt x="471" y="109"/>
                  <a:pt x="472" y="110"/>
                </a:cubicBezTo>
                <a:cubicBezTo>
                  <a:pt x="473" y="110"/>
                  <a:pt x="475" y="111"/>
                  <a:pt x="475" y="112"/>
                </a:cubicBezTo>
                <a:cubicBezTo>
                  <a:pt x="474" y="111"/>
                  <a:pt x="472" y="110"/>
                  <a:pt x="471" y="110"/>
                </a:cubicBezTo>
                <a:cubicBezTo>
                  <a:pt x="471" y="110"/>
                  <a:pt x="470" y="110"/>
                  <a:pt x="470" y="110"/>
                </a:cubicBezTo>
                <a:cubicBezTo>
                  <a:pt x="472" y="111"/>
                  <a:pt x="473" y="111"/>
                  <a:pt x="475" y="112"/>
                </a:cubicBezTo>
                <a:cubicBezTo>
                  <a:pt x="476" y="113"/>
                  <a:pt x="477" y="113"/>
                  <a:pt x="479" y="114"/>
                </a:cubicBezTo>
                <a:cubicBezTo>
                  <a:pt x="479" y="114"/>
                  <a:pt x="479" y="115"/>
                  <a:pt x="478" y="115"/>
                </a:cubicBezTo>
                <a:cubicBezTo>
                  <a:pt x="476" y="114"/>
                  <a:pt x="474" y="112"/>
                  <a:pt x="472" y="111"/>
                </a:cubicBezTo>
                <a:cubicBezTo>
                  <a:pt x="468" y="109"/>
                  <a:pt x="463" y="107"/>
                  <a:pt x="458" y="105"/>
                </a:cubicBezTo>
                <a:cubicBezTo>
                  <a:pt x="458" y="105"/>
                  <a:pt x="457" y="105"/>
                  <a:pt x="457" y="104"/>
                </a:cubicBezTo>
                <a:cubicBezTo>
                  <a:pt x="456" y="104"/>
                  <a:pt x="454" y="103"/>
                  <a:pt x="453" y="102"/>
                </a:cubicBezTo>
                <a:cubicBezTo>
                  <a:pt x="452" y="102"/>
                  <a:pt x="451" y="101"/>
                  <a:pt x="449" y="101"/>
                </a:cubicBezTo>
                <a:cubicBezTo>
                  <a:pt x="447" y="100"/>
                  <a:pt x="446" y="99"/>
                  <a:pt x="443" y="98"/>
                </a:cubicBezTo>
                <a:cubicBezTo>
                  <a:pt x="443" y="99"/>
                  <a:pt x="445" y="100"/>
                  <a:pt x="448" y="101"/>
                </a:cubicBezTo>
                <a:cubicBezTo>
                  <a:pt x="452" y="104"/>
                  <a:pt x="456" y="106"/>
                  <a:pt x="460" y="106"/>
                </a:cubicBezTo>
                <a:cubicBezTo>
                  <a:pt x="465" y="109"/>
                  <a:pt x="469" y="111"/>
                  <a:pt x="474" y="113"/>
                </a:cubicBezTo>
                <a:cubicBezTo>
                  <a:pt x="477" y="115"/>
                  <a:pt x="481" y="116"/>
                  <a:pt x="484" y="118"/>
                </a:cubicBezTo>
                <a:cubicBezTo>
                  <a:pt x="486" y="119"/>
                  <a:pt x="488" y="120"/>
                  <a:pt x="490" y="121"/>
                </a:cubicBezTo>
                <a:cubicBezTo>
                  <a:pt x="491" y="122"/>
                  <a:pt x="493" y="123"/>
                  <a:pt x="494" y="124"/>
                </a:cubicBezTo>
                <a:cubicBezTo>
                  <a:pt x="492" y="123"/>
                  <a:pt x="491" y="122"/>
                  <a:pt x="489" y="121"/>
                </a:cubicBezTo>
                <a:cubicBezTo>
                  <a:pt x="489" y="121"/>
                  <a:pt x="488" y="121"/>
                  <a:pt x="487" y="121"/>
                </a:cubicBezTo>
                <a:cubicBezTo>
                  <a:pt x="487" y="121"/>
                  <a:pt x="487" y="121"/>
                  <a:pt x="487" y="121"/>
                </a:cubicBezTo>
                <a:cubicBezTo>
                  <a:pt x="487" y="121"/>
                  <a:pt x="489" y="122"/>
                  <a:pt x="491" y="123"/>
                </a:cubicBezTo>
                <a:cubicBezTo>
                  <a:pt x="491" y="123"/>
                  <a:pt x="492" y="124"/>
                  <a:pt x="492" y="124"/>
                </a:cubicBezTo>
                <a:cubicBezTo>
                  <a:pt x="494" y="125"/>
                  <a:pt x="495" y="125"/>
                  <a:pt x="496" y="126"/>
                </a:cubicBezTo>
                <a:cubicBezTo>
                  <a:pt x="498" y="126"/>
                  <a:pt x="499" y="127"/>
                  <a:pt x="501" y="127"/>
                </a:cubicBezTo>
                <a:cubicBezTo>
                  <a:pt x="501" y="127"/>
                  <a:pt x="501" y="128"/>
                  <a:pt x="501" y="128"/>
                </a:cubicBezTo>
                <a:cubicBezTo>
                  <a:pt x="503" y="130"/>
                  <a:pt x="504" y="131"/>
                  <a:pt x="507" y="131"/>
                </a:cubicBezTo>
                <a:cubicBezTo>
                  <a:pt x="510" y="132"/>
                  <a:pt x="511" y="133"/>
                  <a:pt x="514" y="134"/>
                </a:cubicBezTo>
                <a:cubicBezTo>
                  <a:pt x="514" y="135"/>
                  <a:pt x="513" y="135"/>
                  <a:pt x="510" y="135"/>
                </a:cubicBezTo>
                <a:cubicBezTo>
                  <a:pt x="512" y="136"/>
                  <a:pt x="514" y="136"/>
                  <a:pt x="515" y="137"/>
                </a:cubicBezTo>
                <a:cubicBezTo>
                  <a:pt x="515" y="137"/>
                  <a:pt x="515" y="137"/>
                  <a:pt x="515" y="137"/>
                </a:cubicBezTo>
                <a:cubicBezTo>
                  <a:pt x="505" y="133"/>
                  <a:pt x="494" y="128"/>
                  <a:pt x="485" y="123"/>
                </a:cubicBezTo>
                <a:cubicBezTo>
                  <a:pt x="484" y="123"/>
                  <a:pt x="483" y="123"/>
                  <a:pt x="482" y="122"/>
                </a:cubicBezTo>
                <a:cubicBezTo>
                  <a:pt x="479" y="121"/>
                  <a:pt x="476" y="119"/>
                  <a:pt x="473" y="118"/>
                </a:cubicBezTo>
                <a:cubicBezTo>
                  <a:pt x="472" y="117"/>
                  <a:pt x="471" y="117"/>
                  <a:pt x="471" y="117"/>
                </a:cubicBezTo>
                <a:cubicBezTo>
                  <a:pt x="470" y="117"/>
                  <a:pt x="469" y="117"/>
                  <a:pt x="468" y="117"/>
                </a:cubicBezTo>
                <a:cubicBezTo>
                  <a:pt x="455" y="110"/>
                  <a:pt x="444" y="104"/>
                  <a:pt x="430" y="97"/>
                </a:cubicBezTo>
                <a:cubicBezTo>
                  <a:pt x="430" y="96"/>
                  <a:pt x="428" y="95"/>
                  <a:pt x="426" y="94"/>
                </a:cubicBezTo>
                <a:cubicBezTo>
                  <a:pt x="425" y="94"/>
                  <a:pt x="425" y="93"/>
                  <a:pt x="421" y="92"/>
                </a:cubicBezTo>
                <a:cubicBezTo>
                  <a:pt x="421" y="92"/>
                  <a:pt x="418" y="92"/>
                  <a:pt x="417" y="91"/>
                </a:cubicBezTo>
                <a:cubicBezTo>
                  <a:pt x="412" y="89"/>
                  <a:pt x="409" y="87"/>
                  <a:pt x="403" y="84"/>
                </a:cubicBezTo>
                <a:cubicBezTo>
                  <a:pt x="405" y="86"/>
                  <a:pt x="409" y="87"/>
                  <a:pt x="409" y="89"/>
                </a:cubicBezTo>
                <a:cubicBezTo>
                  <a:pt x="399" y="84"/>
                  <a:pt x="390" y="80"/>
                  <a:pt x="382" y="76"/>
                </a:cubicBezTo>
                <a:cubicBezTo>
                  <a:pt x="380" y="74"/>
                  <a:pt x="378" y="73"/>
                  <a:pt x="374" y="72"/>
                </a:cubicBezTo>
                <a:cubicBezTo>
                  <a:pt x="374" y="72"/>
                  <a:pt x="373" y="71"/>
                  <a:pt x="373" y="71"/>
                </a:cubicBezTo>
                <a:cubicBezTo>
                  <a:pt x="371" y="69"/>
                  <a:pt x="366" y="68"/>
                  <a:pt x="364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3" y="66"/>
                </a:cubicBezTo>
                <a:cubicBezTo>
                  <a:pt x="363" y="66"/>
                  <a:pt x="363" y="66"/>
                  <a:pt x="364" y="66"/>
                </a:cubicBezTo>
                <a:cubicBezTo>
                  <a:pt x="361" y="64"/>
                  <a:pt x="356" y="62"/>
                  <a:pt x="352" y="60"/>
                </a:cubicBezTo>
                <a:cubicBezTo>
                  <a:pt x="347" y="57"/>
                  <a:pt x="342" y="54"/>
                  <a:pt x="340" y="52"/>
                </a:cubicBezTo>
                <a:cubicBezTo>
                  <a:pt x="339" y="52"/>
                  <a:pt x="338" y="51"/>
                  <a:pt x="338" y="51"/>
                </a:cubicBezTo>
                <a:cubicBezTo>
                  <a:pt x="334" y="49"/>
                  <a:pt x="328" y="46"/>
                  <a:pt x="324" y="44"/>
                </a:cubicBezTo>
                <a:cubicBezTo>
                  <a:pt x="323" y="43"/>
                  <a:pt x="321" y="42"/>
                  <a:pt x="318" y="42"/>
                </a:cubicBezTo>
                <a:cubicBezTo>
                  <a:pt x="317" y="41"/>
                  <a:pt x="316" y="41"/>
                  <a:pt x="314" y="40"/>
                </a:cubicBezTo>
                <a:cubicBezTo>
                  <a:pt x="314" y="40"/>
                  <a:pt x="313" y="40"/>
                  <a:pt x="313" y="40"/>
                </a:cubicBezTo>
                <a:cubicBezTo>
                  <a:pt x="313" y="40"/>
                  <a:pt x="313" y="40"/>
                  <a:pt x="313" y="40"/>
                </a:cubicBezTo>
                <a:cubicBezTo>
                  <a:pt x="316" y="42"/>
                  <a:pt x="321" y="45"/>
                  <a:pt x="326" y="47"/>
                </a:cubicBezTo>
                <a:cubicBezTo>
                  <a:pt x="328" y="48"/>
                  <a:pt x="331" y="49"/>
                  <a:pt x="331" y="50"/>
                </a:cubicBezTo>
                <a:cubicBezTo>
                  <a:pt x="338" y="52"/>
                  <a:pt x="333" y="53"/>
                  <a:pt x="338" y="54"/>
                </a:cubicBezTo>
                <a:cubicBezTo>
                  <a:pt x="338" y="54"/>
                  <a:pt x="338" y="54"/>
                  <a:pt x="338" y="54"/>
                </a:cubicBezTo>
                <a:cubicBezTo>
                  <a:pt x="339" y="55"/>
                  <a:pt x="339" y="56"/>
                  <a:pt x="342" y="57"/>
                </a:cubicBezTo>
                <a:cubicBezTo>
                  <a:pt x="345" y="59"/>
                  <a:pt x="349" y="60"/>
                  <a:pt x="351" y="62"/>
                </a:cubicBezTo>
                <a:cubicBezTo>
                  <a:pt x="353" y="63"/>
                  <a:pt x="354" y="63"/>
                  <a:pt x="356" y="63"/>
                </a:cubicBezTo>
                <a:cubicBezTo>
                  <a:pt x="356" y="64"/>
                  <a:pt x="354" y="64"/>
                  <a:pt x="357" y="65"/>
                </a:cubicBezTo>
                <a:cubicBezTo>
                  <a:pt x="357" y="66"/>
                  <a:pt x="361" y="67"/>
                  <a:pt x="361" y="68"/>
                </a:cubicBezTo>
                <a:cubicBezTo>
                  <a:pt x="361" y="68"/>
                  <a:pt x="360" y="68"/>
                  <a:pt x="360" y="68"/>
                </a:cubicBezTo>
                <a:cubicBezTo>
                  <a:pt x="358" y="67"/>
                  <a:pt x="359" y="68"/>
                  <a:pt x="359" y="69"/>
                </a:cubicBezTo>
                <a:cubicBezTo>
                  <a:pt x="355" y="68"/>
                  <a:pt x="352" y="66"/>
                  <a:pt x="352" y="66"/>
                </a:cubicBezTo>
                <a:cubicBezTo>
                  <a:pt x="352" y="64"/>
                  <a:pt x="350" y="63"/>
                  <a:pt x="346" y="62"/>
                </a:cubicBezTo>
                <a:cubicBezTo>
                  <a:pt x="344" y="62"/>
                  <a:pt x="342" y="61"/>
                  <a:pt x="341" y="60"/>
                </a:cubicBezTo>
                <a:cubicBezTo>
                  <a:pt x="340" y="59"/>
                  <a:pt x="338" y="58"/>
                  <a:pt x="336" y="58"/>
                </a:cubicBezTo>
                <a:cubicBezTo>
                  <a:pt x="336" y="58"/>
                  <a:pt x="336" y="58"/>
                  <a:pt x="335" y="58"/>
                </a:cubicBezTo>
                <a:cubicBezTo>
                  <a:pt x="332" y="56"/>
                  <a:pt x="328" y="54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4" y="53"/>
                  <a:pt x="324" y="53"/>
                  <a:pt x="324" y="53"/>
                </a:cubicBezTo>
                <a:cubicBezTo>
                  <a:pt x="322" y="51"/>
                  <a:pt x="319" y="50"/>
                  <a:pt x="317" y="49"/>
                </a:cubicBezTo>
                <a:cubicBezTo>
                  <a:pt x="313" y="48"/>
                  <a:pt x="310" y="46"/>
                  <a:pt x="306" y="44"/>
                </a:cubicBezTo>
                <a:cubicBezTo>
                  <a:pt x="307" y="46"/>
                  <a:pt x="317" y="49"/>
                  <a:pt x="315" y="51"/>
                </a:cubicBezTo>
                <a:cubicBezTo>
                  <a:pt x="314" y="50"/>
                  <a:pt x="314" y="51"/>
                  <a:pt x="314" y="52"/>
                </a:cubicBezTo>
                <a:cubicBezTo>
                  <a:pt x="314" y="52"/>
                  <a:pt x="314" y="52"/>
                  <a:pt x="315" y="52"/>
                </a:cubicBezTo>
                <a:cubicBezTo>
                  <a:pt x="317" y="53"/>
                  <a:pt x="319" y="53"/>
                  <a:pt x="322" y="54"/>
                </a:cubicBezTo>
                <a:cubicBezTo>
                  <a:pt x="322" y="55"/>
                  <a:pt x="323" y="55"/>
                  <a:pt x="324" y="55"/>
                </a:cubicBezTo>
                <a:cubicBezTo>
                  <a:pt x="325" y="56"/>
                  <a:pt x="326" y="56"/>
                  <a:pt x="326" y="57"/>
                </a:cubicBezTo>
                <a:cubicBezTo>
                  <a:pt x="332" y="59"/>
                  <a:pt x="336" y="62"/>
                  <a:pt x="340" y="65"/>
                </a:cubicBezTo>
                <a:cubicBezTo>
                  <a:pt x="338" y="65"/>
                  <a:pt x="336" y="63"/>
                  <a:pt x="334" y="63"/>
                </a:cubicBezTo>
                <a:cubicBezTo>
                  <a:pt x="334" y="64"/>
                  <a:pt x="338" y="65"/>
                  <a:pt x="339" y="66"/>
                </a:cubicBezTo>
                <a:cubicBezTo>
                  <a:pt x="339" y="66"/>
                  <a:pt x="339" y="66"/>
                  <a:pt x="338" y="66"/>
                </a:cubicBezTo>
                <a:cubicBezTo>
                  <a:pt x="338" y="66"/>
                  <a:pt x="338" y="66"/>
                  <a:pt x="338" y="66"/>
                </a:cubicBezTo>
                <a:cubicBezTo>
                  <a:pt x="338" y="66"/>
                  <a:pt x="338" y="67"/>
                  <a:pt x="337" y="66"/>
                </a:cubicBezTo>
                <a:cubicBezTo>
                  <a:pt x="334" y="65"/>
                  <a:pt x="333" y="65"/>
                  <a:pt x="332" y="65"/>
                </a:cubicBezTo>
                <a:cubicBezTo>
                  <a:pt x="331" y="65"/>
                  <a:pt x="333" y="66"/>
                  <a:pt x="334" y="67"/>
                </a:cubicBezTo>
                <a:cubicBezTo>
                  <a:pt x="337" y="68"/>
                  <a:pt x="340" y="69"/>
                  <a:pt x="341" y="70"/>
                </a:cubicBezTo>
                <a:cubicBezTo>
                  <a:pt x="343" y="72"/>
                  <a:pt x="345" y="72"/>
                  <a:pt x="347" y="72"/>
                </a:cubicBezTo>
                <a:cubicBezTo>
                  <a:pt x="349" y="73"/>
                  <a:pt x="351" y="74"/>
                  <a:pt x="355" y="76"/>
                </a:cubicBezTo>
                <a:cubicBezTo>
                  <a:pt x="353" y="74"/>
                  <a:pt x="351" y="73"/>
                  <a:pt x="347" y="72"/>
                </a:cubicBezTo>
                <a:cubicBezTo>
                  <a:pt x="345" y="71"/>
                  <a:pt x="343" y="70"/>
                  <a:pt x="341" y="68"/>
                </a:cubicBezTo>
                <a:cubicBezTo>
                  <a:pt x="339" y="68"/>
                  <a:pt x="339" y="67"/>
                  <a:pt x="341" y="67"/>
                </a:cubicBezTo>
                <a:cubicBezTo>
                  <a:pt x="343" y="68"/>
                  <a:pt x="346" y="69"/>
                  <a:pt x="347" y="68"/>
                </a:cubicBezTo>
                <a:cubicBezTo>
                  <a:pt x="347" y="69"/>
                  <a:pt x="348" y="69"/>
                  <a:pt x="349" y="69"/>
                </a:cubicBezTo>
                <a:cubicBezTo>
                  <a:pt x="349" y="70"/>
                  <a:pt x="351" y="71"/>
                  <a:pt x="353" y="72"/>
                </a:cubicBezTo>
                <a:cubicBezTo>
                  <a:pt x="359" y="75"/>
                  <a:pt x="364" y="78"/>
                  <a:pt x="370" y="81"/>
                </a:cubicBezTo>
                <a:cubicBezTo>
                  <a:pt x="373" y="83"/>
                  <a:pt x="375" y="84"/>
                  <a:pt x="380" y="86"/>
                </a:cubicBezTo>
                <a:cubicBezTo>
                  <a:pt x="382" y="88"/>
                  <a:pt x="388" y="90"/>
                  <a:pt x="390" y="92"/>
                </a:cubicBezTo>
                <a:cubicBezTo>
                  <a:pt x="391" y="93"/>
                  <a:pt x="393" y="94"/>
                  <a:pt x="394" y="95"/>
                </a:cubicBezTo>
                <a:cubicBezTo>
                  <a:pt x="395" y="96"/>
                  <a:pt x="396" y="96"/>
                  <a:pt x="396" y="97"/>
                </a:cubicBezTo>
                <a:cubicBezTo>
                  <a:pt x="397" y="97"/>
                  <a:pt x="397" y="98"/>
                  <a:pt x="398" y="98"/>
                </a:cubicBezTo>
                <a:cubicBezTo>
                  <a:pt x="396" y="97"/>
                  <a:pt x="394" y="96"/>
                  <a:pt x="392" y="95"/>
                </a:cubicBezTo>
                <a:cubicBezTo>
                  <a:pt x="390" y="95"/>
                  <a:pt x="390" y="94"/>
                  <a:pt x="388" y="94"/>
                </a:cubicBezTo>
                <a:cubicBezTo>
                  <a:pt x="387" y="93"/>
                  <a:pt x="385" y="92"/>
                  <a:pt x="384" y="92"/>
                </a:cubicBezTo>
                <a:cubicBezTo>
                  <a:pt x="384" y="92"/>
                  <a:pt x="384" y="93"/>
                  <a:pt x="383" y="93"/>
                </a:cubicBezTo>
                <a:cubicBezTo>
                  <a:pt x="380" y="91"/>
                  <a:pt x="378" y="90"/>
                  <a:pt x="374" y="88"/>
                </a:cubicBezTo>
                <a:cubicBezTo>
                  <a:pt x="372" y="87"/>
                  <a:pt x="370" y="87"/>
                  <a:pt x="369" y="86"/>
                </a:cubicBezTo>
                <a:cubicBezTo>
                  <a:pt x="369" y="86"/>
                  <a:pt x="370" y="85"/>
                  <a:pt x="369" y="85"/>
                </a:cubicBezTo>
                <a:cubicBezTo>
                  <a:pt x="367" y="84"/>
                  <a:pt x="367" y="85"/>
                  <a:pt x="367" y="85"/>
                </a:cubicBezTo>
                <a:cubicBezTo>
                  <a:pt x="365" y="84"/>
                  <a:pt x="364" y="83"/>
                  <a:pt x="362" y="83"/>
                </a:cubicBezTo>
                <a:cubicBezTo>
                  <a:pt x="362" y="83"/>
                  <a:pt x="362" y="83"/>
                  <a:pt x="362" y="83"/>
                </a:cubicBezTo>
                <a:cubicBezTo>
                  <a:pt x="356" y="78"/>
                  <a:pt x="346" y="74"/>
                  <a:pt x="338" y="70"/>
                </a:cubicBezTo>
                <a:cubicBezTo>
                  <a:pt x="334" y="67"/>
                  <a:pt x="330" y="65"/>
                  <a:pt x="326" y="63"/>
                </a:cubicBezTo>
                <a:cubicBezTo>
                  <a:pt x="324" y="61"/>
                  <a:pt x="321" y="60"/>
                  <a:pt x="318" y="59"/>
                </a:cubicBezTo>
                <a:cubicBezTo>
                  <a:pt x="317" y="58"/>
                  <a:pt x="317" y="57"/>
                  <a:pt x="314" y="57"/>
                </a:cubicBezTo>
                <a:cubicBezTo>
                  <a:pt x="309" y="56"/>
                  <a:pt x="312" y="57"/>
                  <a:pt x="312" y="58"/>
                </a:cubicBezTo>
                <a:cubicBezTo>
                  <a:pt x="311" y="57"/>
                  <a:pt x="310" y="57"/>
                  <a:pt x="308" y="56"/>
                </a:cubicBezTo>
                <a:cubicBezTo>
                  <a:pt x="310" y="58"/>
                  <a:pt x="313" y="60"/>
                  <a:pt x="316" y="61"/>
                </a:cubicBezTo>
                <a:cubicBezTo>
                  <a:pt x="315" y="61"/>
                  <a:pt x="314" y="62"/>
                  <a:pt x="316" y="62"/>
                </a:cubicBezTo>
                <a:cubicBezTo>
                  <a:pt x="319" y="64"/>
                  <a:pt x="321" y="65"/>
                  <a:pt x="325" y="66"/>
                </a:cubicBezTo>
                <a:cubicBezTo>
                  <a:pt x="325" y="66"/>
                  <a:pt x="325" y="66"/>
                  <a:pt x="325" y="67"/>
                </a:cubicBezTo>
                <a:cubicBezTo>
                  <a:pt x="325" y="67"/>
                  <a:pt x="325" y="67"/>
                  <a:pt x="325" y="67"/>
                </a:cubicBezTo>
                <a:cubicBezTo>
                  <a:pt x="325" y="67"/>
                  <a:pt x="325" y="66"/>
                  <a:pt x="325" y="66"/>
                </a:cubicBezTo>
                <a:cubicBezTo>
                  <a:pt x="325" y="67"/>
                  <a:pt x="322" y="67"/>
                  <a:pt x="327" y="68"/>
                </a:cubicBezTo>
                <a:cubicBezTo>
                  <a:pt x="328" y="69"/>
                  <a:pt x="330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8" y="70"/>
                  <a:pt x="328" y="70"/>
                  <a:pt x="328" y="70"/>
                </a:cubicBezTo>
                <a:cubicBezTo>
                  <a:pt x="323" y="67"/>
                  <a:pt x="319" y="65"/>
                  <a:pt x="312" y="62"/>
                </a:cubicBezTo>
                <a:cubicBezTo>
                  <a:pt x="311" y="62"/>
                  <a:pt x="310" y="61"/>
                  <a:pt x="309" y="60"/>
                </a:cubicBezTo>
                <a:cubicBezTo>
                  <a:pt x="306" y="60"/>
                  <a:pt x="310" y="62"/>
                  <a:pt x="310" y="62"/>
                </a:cubicBezTo>
                <a:cubicBezTo>
                  <a:pt x="309" y="62"/>
                  <a:pt x="308" y="62"/>
                  <a:pt x="307" y="62"/>
                </a:cubicBezTo>
                <a:cubicBezTo>
                  <a:pt x="303" y="61"/>
                  <a:pt x="301" y="59"/>
                  <a:pt x="298" y="58"/>
                </a:cubicBezTo>
                <a:cubicBezTo>
                  <a:pt x="296" y="57"/>
                  <a:pt x="294" y="55"/>
                  <a:pt x="292" y="55"/>
                </a:cubicBezTo>
                <a:cubicBezTo>
                  <a:pt x="289" y="55"/>
                  <a:pt x="295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8"/>
                  <a:pt x="294" y="58"/>
                </a:cubicBezTo>
                <a:cubicBezTo>
                  <a:pt x="297" y="60"/>
                  <a:pt x="302" y="61"/>
                  <a:pt x="304" y="63"/>
                </a:cubicBezTo>
                <a:cubicBezTo>
                  <a:pt x="305" y="63"/>
                  <a:pt x="305" y="64"/>
                  <a:pt x="306" y="64"/>
                </a:cubicBezTo>
                <a:cubicBezTo>
                  <a:pt x="306" y="64"/>
                  <a:pt x="305" y="64"/>
                  <a:pt x="304" y="64"/>
                </a:cubicBezTo>
                <a:cubicBezTo>
                  <a:pt x="304" y="65"/>
                  <a:pt x="304" y="65"/>
                  <a:pt x="305" y="66"/>
                </a:cubicBezTo>
                <a:cubicBezTo>
                  <a:pt x="311" y="69"/>
                  <a:pt x="311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5" y="69"/>
                  <a:pt x="305" y="69"/>
                  <a:pt x="305" y="69"/>
                </a:cubicBezTo>
                <a:cubicBezTo>
                  <a:pt x="303" y="69"/>
                  <a:pt x="303" y="67"/>
                  <a:pt x="300" y="67"/>
                </a:cubicBezTo>
                <a:cubicBezTo>
                  <a:pt x="298" y="68"/>
                  <a:pt x="301" y="69"/>
                  <a:pt x="302" y="69"/>
                </a:cubicBezTo>
                <a:cubicBezTo>
                  <a:pt x="303" y="70"/>
                  <a:pt x="303" y="71"/>
                  <a:pt x="301" y="70"/>
                </a:cubicBezTo>
                <a:cubicBezTo>
                  <a:pt x="295" y="68"/>
                  <a:pt x="289" y="67"/>
                  <a:pt x="284" y="64"/>
                </a:cubicBezTo>
                <a:cubicBezTo>
                  <a:pt x="284" y="64"/>
                  <a:pt x="283" y="63"/>
                  <a:pt x="284" y="63"/>
                </a:cubicBezTo>
                <a:cubicBezTo>
                  <a:pt x="284" y="63"/>
                  <a:pt x="286" y="64"/>
                  <a:pt x="287" y="64"/>
                </a:cubicBezTo>
                <a:cubicBezTo>
                  <a:pt x="282" y="61"/>
                  <a:pt x="272" y="58"/>
                  <a:pt x="267" y="55"/>
                </a:cubicBezTo>
                <a:cubicBezTo>
                  <a:pt x="265" y="54"/>
                  <a:pt x="262" y="52"/>
                  <a:pt x="258" y="50"/>
                </a:cubicBezTo>
                <a:cubicBezTo>
                  <a:pt x="257" y="50"/>
                  <a:pt x="256" y="49"/>
                  <a:pt x="254" y="49"/>
                </a:cubicBezTo>
                <a:cubicBezTo>
                  <a:pt x="252" y="49"/>
                  <a:pt x="253" y="50"/>
                  <a:pt x="255" y="50"/>
                </a:cubicBezTo>
                <a:cubicBezTo>
                  <a:pt x="259" y="52"/>
                  <a:pt x="255" y="52"/>
                  <a:pt x="255" y="52"/>
                </a:cubicBezTo>
                <a:cubicBezTo>
                  <a:pt x="254" y="52"/>
                  <a:pt x="253" y="52"/>
                  <a:pt x="253" y="52"/>
                </a:cubicBezTo>
                <a:cubicBezTo>
                  <a:pt x="255" y="53"/>
                  <a:pt x="255" y="54"/>
                  <a:pt x="260" y="55"/>
                </a:cubicBezTo>
                <a:cubicBezTo>
                  <a:pt x="261" y="54"/>
                  <a:pt x="259" y="53"/>
                  <a:pt x="259" y="53"/>
                </a:cubicBezTo>
                <a:cubicBezTo>
                  <a:pt x="262" y="54"/>
                  <a:pt x="262" y="55"/>
                  <a:pt x="264" y="55"/>
                </a:cubicBezTo>
                <a:cubicBezTo>
                  <a:pt x="269" y="57"/>
                  <a:pt x="269" y="59"/>
                  <a:pt x="274" y="61"/>
                </a:cubicBezTo>
                <a:cubicBezTo>
                  <a:pt x="276" y="62"/>
                  <a:pt x="278" y="63"/>
                  <a:pt x="280" y="64"/>
                </a:cubicBezTo>
                <a:cubicBezTo>
                  <a:pt x="280" y="64"/>
                  <a:pt x="279" y="65"/>
                  <a:pt x="280" y="66"/>
                </a:cubicBezTo>
                <a:cubicBezTo>
                  <a:pt x="282" y="67"/>
                  <a:pt x="284" y="68"/>
                  <a:pt x="286" y="69"/>
                </a:cubicBezTo>
                <a:cubicBezTo>
                  <a:pt x="286" y="69"/>
                  <a:pt x="287" y="69"/>
                  <a:pt x="287" y="69"/>
                </a:cubicBezTo>
                <a:cubicBezTo>
                  <a:pt x="285" y="68"/>
                  <a:pt x="283" y="67"/>
                  <a:pt x="281" y="66"/>
                </a:cubicBezTo>
                <a:cubicBezTo>
                  <a:pt x="286" y="66"/>
                  <a:pt x="287" y="68"/>
                  <a:pt x="290" y="69"/>
                </a:cubicBezTo>
                <a:cubicBezTo>
                  <a:pt x="291" y="71"/>
                  <a:pt x="297" y="73"/>
                  <a:pt x="300" y="74"/>
                </a:cubicBezTo>
                <a:cubicBezTo>
                  <a:pt x="300" y="75"/>
                  <a:pt x="301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2" y="75"/>
                  <a:pt x="302" y="75"/>
                  <a:pt x="302" y="75"/>
                </a:cubicBezTo>
                <a:cubicBezTo>
                  <a:pt x="306" y="77"/>
                  <a:pt x="308" y="79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3" y="80"/>
                  <a:pt x="313" y="80"/>
                  <a:pt x="313" y="80"/>
                </a:cubicBezTo>
                <a:cubicBezTo>
                  <a:pt x="314" y="81"/>
                  <a:pt x="316" y="82"/>
                  <a:pt x="318" y="83"/>
                </a:cubicBezTo>
                <a:cubicBezTo>
                  <a:pt x="319" y="84"/>
                  <a:pt x="322" y="85"/>
                  <a:pt x="325" y="86"/>
                </a:cubicBezTo>
                <a:cubicBezTo>
                  <a:pt x="327" y="87"/>
                  <a:pt x="328" y="88"/>
                  <a:pt x="330" y="89"/>
                </a:cubicBezTo>
                <a:cubicBezTo>
                  <a:pt x="330" y="89"/>
                  <a:pt x="330" y="90"/>
                  <a:pt x="330" y="90"/>
                </a:cubicBezTo>
                <a:cubicBezTo>
                  <a:pt x="332" y="91"/>
                  <a:pt x="335" y="92"/>
                  <a:pt x="334" y="93"/>
                </a:cubicBezTo>
                <a:cubicBezTo>
                  <a:pt x="328" y="90"/>
                  <a:pt x="324" y="88"/>
                  <a:pt x="317" y="85"/>
                </a:cubicBezTo>
                <a:cubicBezTo>
                  <a:pt x="306" y="80"/>
                  <a:pt x="296" y="74"/>
                  <a:pt x="285" y="69"/>
                </a:cubicBezTo>
                <a:cubicBezTo>
                  <a:pt x="284" y="68"/>
                  <a:pt x="282" y="68"/>
                  <a:pt x="281" y="67"/>
                </a:cubicBezTo>
                <a:cubicBezTo>
                  <a:pt x="280" y="67"/>
                  <a:pt x="280" y="67"/>
                  <a:pt x="279" y="66"/>
                </a:cubicBezTo>
                <a:cubicBezTo>
                  <a:pt x="273" y="64"/>
                  <a:pt x="268" y="61"/>
                  <a:pt x="262" y="58"/>
                </a:cubicBezTo>
                <a:cubicBezTo>
                  <a:pt x="256" y="55"/>
                  <a:pt x="249" y="52"/>
                  <a:pt x="245" y="49"/>
                </a:cubicBezTo>
                <a:cubicBezTo>
                  <a:pt x="244" y="48"/>
                  <a:pt x="241" y="47"/>
                  <a:pt x="239" y="45"/>
                </a:cubicBezTo>
                <a:cubicBezTo>
                  <a:pt x="240" y="46"/>
                  <a:pt x="241" y="46"/>
                  <a:pt x="242" y="46"/>
                </a:cubicBezTo>
                <a:cubicBezTo>
                  <a:pt x="242" y="45"/>
                  <a:pt x="240" y="45"/>
                  <a:pt x="238" y="44"/>
                </a:cubicBezTo>
                <a:cubicBezTo>
                  <a:pt x="237" y="44"/>
                  <a:pt x="238" y="45"/>
                  <a:pt x="238" y="45"/>
                </a:cubicBezTo>
                <a:cubicBezTo>
                  <a:pt x="237" y="45"/>
                  <a:pt x="236" y="44"/>
                  <a:pt x="233" y="44"/>
                </a:cubicBezTo>
                <a:cubicBezTo>
                  <a:pt x="238" y="46"/>
                  <a:pt x="239" y="47"/>
                  <a:pt x="243" y="49"/>
                </a:cubicBezTo>
                <a:cubicBezTo>
                  <a:pt x="245" y="50"/>
                  <a:pt x="246" y="51"/>
                  <a:pt x="248" y="52"/>
                </a:cubicBezTo>
                <a:cubicBezTo>
                  <a:pt x="252" y="55"/>
                  <a:pt x="258" y="58"/>
                  <a:pt x="262" y="60"/>
                </a:cubicBezTo>
                <a:cubicBezTo>
                  <a:pt x="261" y="60"/>
                  <a:pt x="262" y="61"/>
                  <a:pt x="262" y="61"/>
                </a:cubicBezTo>
                <a:cubicBezTo>
                  <a:pt x="263" y="62"/>
                  <a:pt x="263" y="63"/>
                  <a:pt x="262" y="63"/>
                </a:cubicBezTo>
                <a:cubicBezTo>
                  <a:pt x="260" y="63"/>
                  <a:pt x="258" y="62"/>
                  <a:pt x="257" y="61"/>
                </a:cubicBezTo>
                <a:cubicBezTo>
                  <a:pt x="254" y="60"/>
                  <a:pt x="250" y="59"/>
                  <a:pt x="246" y="57"/>
                </a:cubicBezTo>
                <a:cubicBezTo>
                  <a:pt x="242" y="56"/>
                  <a:pt x="240" y="56"/>
                  <a:pt x="238" y="57"/>
                </a:cubicBezTo>
                <a:cubicBezTo>
                  <a:pt x="238" y="57"/>
                  <a:pt x="236" y="57"/>
                  <a:pt x="235" y="56"/>
                </a:cubicBezTo>
                <a:cubicBezTo>
                  <a:pt x="234" y="55"/>
                  <a:pt x="234" y="55"/>
                  <a:pt x="236" y="55"/>
                </a:cubicBezTo>
                <a:cubicBezTo>
                  <a:pt x="239" y="56"/>
                  <a:pt x="238" y="54"/>
                  <a:pt x="240" y="54"/>
                </a:cubicBezTo>
                <a:cubicBezTo>
                  <a:pt x="236" y="53"/>
                  <a:pt x="232" y="52"/>
                  <a:pt x="228" y="50"/>
                </a:cubicBezTo>
                <a:cubicBezTo>
                  <a:pt x="229" y="52"/>
                  <a:pt x="230" y="52"/>
                  <a:pt x="230" y="53"/>
                </a:cubicBezTo>
                <a:cubicBezTo>
                  <a:pt x="228" y="53"/>
                  <a:pt x="223" y="51"/>
                  <a:pt x="224" y="53"/>
                </a:cubicBezTo>
                <a:cubicBezTo>
                  <a:pt x="225" y="55"/>
                  <a:pt x="225" y="55"/>
                  <a:pt x="221" y="55"/>
                </a:cubicBezTo>
                <a:cubicBezTo>
                  <a:pt x="225" y="57"/>
                  <a:pt x="228" y="58"/>
                  <a:pt x="232" y="59"/>
                </a:cubicBezTo>
                <a:cubicBezTo>
                  <a:pt x="232" y="59"/>
                  <a:pt x="233" y="59"/>
                  <a:pt x="233" y="59"/>
                </a:cubicBezTo>
                <a:cubicBezTo>
                  <a:pt x="233" y="59"/>
                  <a:pt x="233" y="60"/>
                  <a:pt x="232" y="60"/>
                </a:cubicBezTo>
                <a:cubicBezTo>
                  <a:pt x="230" y="60"/>
                  <a:pt x="232" y="60"/>
                  <a:pt x="233" y="61"/>
                </a:cubicBezTo>
                <a:cubicBezTo>
                  <a:pt x="234" y="61"/>
                  <a:pt x="234" y="61"/>
                  <a:pt x="234" y="61"/>
                </a:cubicBezTo>
                <a:cubicBezTo>
                  <a:pt x="234" y="61"/>
                  <a:pt x="234" y="62"/>
                  <a:pt x="236" y="62"/>
                </a:cubicBezTo>
                <a:cubicBezTo>
                  <a:pt x="238" y="63"/>
                  <a:pt x="238" y="64"/>
                  <a:pt x="236" y="64"/>
                </a:cubicBezTo>
                <a:cubicBezTo>
                  <a:pt x="235" y="64"/>
                  <a:pt x="238" y="65"/>
                  <a:pt x="238" y="65"/>
                </a:cubicBezTo>
                <a:cubicBezTo>
                  <a:pt x="236" y="65"/>
                  <a:pt x="235" y="64"/>
                  <a:pt x="234" y="63"/>
                </a:cubicBezTo>
                <a:cubicBezTo>
                  <a:pt x="232" y="62"/>
                  <a:pt x="228" y="60"/>
                  <a:pt x="225" y="58"/>
                </a:cubicBezTo>
                <a:cubicBezTo>
                  <a:pt x="224" y="58"/>
                  <a:pt x="222" y="57"/>
                  <a:pt x="220" y="56"/>
                </a:cubicBezTo>
                <a:cubicBezTo>
                  <a:pt x="219" y="55"/>
                  <a:pt x="218" y="55"/>
                  <a:pt x="217" y="54"/>
                </a:cubicBezTo>
                <a:cubicBezTo>
                  <a:pt x="216" y="54"/>
                  <a:pt x="215" y="53"/>
                  <a:pt x="215" y="53"/>
                </a:cubicBezTo>
                <a:cubicBezTo>
                  <a:pt x="215" y="53"/>
                  <a:pt x="214" y="52"/>
                  <a:pt x="213" y="52"/>
                </a:cubicBezTo>
                <a:cubicBezTo>
                  <a:pt x="212" y="53"/>
                  <a:pt x="211" y="52"/>
                  <a:pt x="210" y="52"/>
                </a:cubicBezTo>
                <a:cubicBezTo>
                  <a:pt x="210" y="52"/>
                  <a:pt x="211" y="52"/>
                  <a:pt x="212" y="53"/>
                </a:cubicBezTo>
                <a:cubicBezTo>
                  <a:pt x="213" y="53"/>
                  <a:pt x="214" y="54"/>
                  <a:pt x="216" y="54"/>
                </a:cubicBezTo>
                <a:cubicBezTo>
                  <a:pt x="221" y="57"/>
                  <a:pt x="225" y="60"/>
                  <a:pt x="233" y="63"/>
                </a:cubicBezTo>
                <a:cubicBezTo>
                  <a:pt x="237" y="67"/>
                  <a:pt x="244" y="70"/>
                  <a:pt x="250" y="73"/>
                </a:cubicBezTo>
                <a:cubicBezTo>
                  <a:pt x="253" y="74"/>
                  <a:pt x="255" y="76"/>
                  <a:pt x="258" y="77"/>
                </a:cubicBezTo>
                <a:cubicBezTo>
                  <a:pt x="259" y="79"/>
                  <a:pt x="263" y="80"/>
                  <a:pt x="266" y="82"/>
                </a:cubicBezTo>
                <a:cubicBezTo>
                  <a:pt x="262" y="81"/>
                  <a:pt x="258" y="81"/>
                  <a:pt x="253" y="79"/>
                </a:cubicBezTo>
                <a:cubicBezTo>
                  <a:pt x="248" y="77"/>
                  <a:pt x="243" y="75"/>
                  <a:pt x="239" y="73"/>
                </a:cubicBezTo>
                <a:cubicBezTo>
                  <a:pt x="233" y="69"/>
                  <a:pt x="228" y="66"/>
                  <a:pt x="220" y="63"/>
                </a:cubicBezTo>
                <a:cubicBezTo>
                  <a:pt x="217" y="61"/>
                  <a:pt x="212" y="60"/>
                  <a:pt x="208" y="59"/>
                </a:cubicBezTo>
                <a:cubicBezTo>
                  <a:pt x="207" y="60"/>
                  <a:pt x="211" y="62"/>
                  <a:pt x="214" y="63"/>
                </a:cubicBezTo>
                <a:cubicBezTo>
                  <a:pt x="216" y="63"/>
                  <a:pt x="219" y="64"/>
                  <a:pt x="219" y="65"/>
                </a:cubicBezTo>
                <a:cubicBezTo>
                  <a:pt x="219" y="65"/>
                  <a:pt x="217" y="65"/>
                  <a:pt x="215" y="65"/>
                </a:cubicBezTo>
                <a:cubicBezTo>
                  <a:pt x="214" y="65"/>
                  <a:pt x="212" y="64"/>
                  <a:pt x="211" y="65"/>
                </a:cubicBezTo>
                <a:cubicBezTo>
                  <a:pt x="211" y="64"/>
                  <a:pt x="210" y="64"/>
                  <a:pt x="209" y="63"/>
                </a:cubicBezTo>
                <a:cubicBezTo>
                  <a:pt x="209" y="63"/>
                  <a:pt x="209" y="63"/>
                  <a:pt x="209" y="62"/>
                </a:cubicBezTo>
                <a:cubicBezTo>
                  <a:pt x="209" y="62"/>
                  <a:pt x="209" y="62"/>
                  <a:pt x="209" y="62"/>
                </a:cubicBezTo>
                <a:cubicBezTo>
                  <a:pt x="210" y="63"/>
                  <a:pt x="212" y="64"/>
                  <a:pt x="212" y="63"/>
                </a:cubicBezTo>
                <a:cubicBezTo>
                  <a:pt x="212" y="63"/>
                  <a:pt x="212" y="62"/>
                  <a:pt x="208" y="61"/>
                </a:cubicBezTo>
                <a:cubicBezTo>
                  <a:pt x="208" y="61"/>
                  <a:pt x="207" y="61"/>
                  <a:pt x="207" y="61"/>
                </a:cubicBezTo>
                <a:cubicBezTo>
                  <a:pt x="205" y="60"/>
                  <a:pt x="203" y="59"/>
                  <a:pt x="201" y="58"/>
                </a:cubicBezTo>
                <a:cubicBezTo>
                  <a:pt x="201" y="58"/>
                  <a:pt x="200" y="58"/>
                  <a:pt x="200" y="58"/>
                </a:cubicBezTo>
                <a:cubicBezTo>
                  <a:pt x="202" y="59"/>
                  <a:pt x="204" y="60"/>
                  <a:pt x="206" y="61"/>
                </a:cubicBezTo>
                <a:cubicBezTo>
                  <a:pt x="207" y="62"/>
                  <a:pt x="207" y="62"/>
                  <a:pt x="205" y="62"/>
                </a:cubicBezTo>
                <a:cubicBezTo>
                  <a:pt x="203" y="62"/>
                  <a:pt x="202" y="62"/>
                  <a:pt x="201" y="62"/>
                </a:cubicBezTo>
                <a:cubicBezTo>
                  <a:pt x="200" y="61"/>
                  <a:pt x="199" y="60"/>
                  <a:pt x="195" y="59"/>
                </a:cubicBezTo>
                <a:cubicBezTo>
                  <a:pt x="196" y="60"/>
                  <a:pt x="197" y="61"/>
                  <a:pt x="198" y="62"/>
                </a:cubicBezTo>
                <a:cubicBezTo>
                  <a:pt x="199" y="64"/>
                  <a:pt x="203" y="65"/>
                  <a:pt x="207" y="67"/>
                </a:cubicBezTo>
                <a:cubicBezTo>
                  <a:pt x="208" y="68"/>
                  <a:pt x="209" y="68"/>
                  <a:pt x="211" y="69"/>
                </a:cubicBezTo>
                <a:cubicBezTo>
                  <a:pt x="211" y="69"/>
                  <a:pt x="211" y="69"/>
                  <a:pt x="212" y="70"/>
                </a:cubicBezTo>
                <a:cubicBezTo>
                  <a:pt x="212" y="70"/>
                  <a:pt x="213" y="71"/>
                  <a:pt x="215" y="71"/>
                </a:cubicBezTo>
                <a:cubicBezTo>
                  <a:pt x="216" y="72"/>
                  <a:pt x="217" y="72"/>
                  <a:pt x="217" y="72"/>
                </a:cubicBezTo>
                <a:cubicBezTo>
                  <a:pt x="215" y="73"/>
                  <a:pt x="219" y="74"/>
                  <a:pt x="218" y="75"/>
                </a:cubicBezTo>
                <a:cubicBezTo>
                  <a:pt x="217" y="74"/>
                  <a:pt x="213" y="73"/>
                  <a:pt x="213" y="74"/>
                </a:cubicBezTo>
                <a:cubicBezTo>
                  <a:pt x="212" y="74"/>
                  <a:pt x="214" y="75"/>
                  <a:pt x="216" y="76"/>
                </a:cubicBezTo>
                <a:cubicBezTo>
                  <a:pt x="218" y="77"/>
                  <a:pt x="219" y="77"/>
                  <a:pt x="220" y="78"/>
                </a:cubicBezTo>
                <a:cubicBezTo>
                  <a:pt x="221" y="80"/>
                  <a:pt x="224" y="82"/>
                  <a:pt x="231" y="83"/>
                </a:cubicBezTo>
                <a:cubicBezTo>
                  <a:pt x="232" y="85"/>
                  <a:pt x="238" y="87"/>
                  <a:pt x="241" y="88"/>
                </a:cubicBezTo>
                <a:cubicBezTo>
                  <a:pt x="246" y="91"/>
                  <a:pt x="252" y="94"/>
                  <a:pt x="258" y="97"/>
                </a:cubicBezTo>
                <a:cubicBezTo>
                  <a:pt x="259" y="98"/>
                  <a:pt x="261" y="99"/>
                  <a:pt x="266" y="101"/>
                </a:cubicBezTo>
                <a:cubicBezTo>
                  <a:pt x="264" y="99"/>
                  <a:pt x="261" y="98"/>
                  <a:pt x="259" y="97"/>
                </a:cubicBezTo>
                <a:cubicBezTo>
                  <a:pt x="257" y="96"/>
                  <a:pt x="256" y="95"/>
                  <a:pt x="254" y="94"/>
                </a:cubicBezTo>
                <a:cubicBezTo>
                  <a:pt x="260" y="96"/>
                  <a:pt x="261" y="98"/>
                  <a:pt x="265" y="99"/>
                </a:cubicBezTo>
                <a:cubicBezTo>
                  <a:pt x="267" y="100"/>
                  <a:pt x="269" y="101"/>
                  <a:pt x="270" y="101"/>
                </a:cubicBezTo>
                <a:cubicBezTo>
                  <a:pt x="270" y="101"/>
                  <a:pt x="270" y="101"/>
                  <a:pt x="270" y="101"/>
                </a:cubicBezTo>
                <a:cubicBezTo>
                  <a:pt x="270" y="102"/>
                  <a:pt x="270" y="102"/>
                  <a:pt x="272" y="103"/>
                </a:cubicBezTo>
                <a:cubicBezTo>
                  <a:pt x="274" y="104"/>
                  <a:pt x="274" y="103"/>
                  <a:pt x="274" y="103"/>
                </a:cubicBezTo>
                <a:cubicBezTo>
                  <a:pt x="277" y="104"/>
                  <a:pt x="280" y="105"/>
                  <a:pt x="282" y="107"/>
                </a:cubicBezTo>
                <a:cubicBezTo>
                  <a:pt x="282" y="107"/>
                  <a:pt x="281" y="107"/>
                  <a:pt x="280" y="106"/>
                </a:cubicBezTo>
                <a:cubicBezTo>
                  <a:pt x="279" y="106"/>
                  <a:pt x="278" y="105"/>
                  <a:pt x="277" y="106"/>
                </a:cubicBezTo>
                <a:cubicBezTo>
                  <a:pt x="273" y="105"/>
                  <a:pt x="270" y="104"/>
                  <a:pt x="269" y="102"/>
                </a:cubicBezTo>
                <a:cubicBezTo>
                  <a:pt x="268" y="102"/>
                  <a:pt x="267" y="101"/>
                  <a:pt x="266" y="101"/>
                </a:cubicBezTo>
                <a:cubicBezTo>
                  <a:pt x="265" y="101"/>
                  <a:pt x="266" y="102"/>
                  <a:pt x="267" y="102"/>
                </a:cubicBezTo>
                <a:cubicBezTo>
                  <a:pt x="266" y="102"/>
                  <a:pt x="265" y="102"/>
                  <a:pt x="265" y="102"/>
                </a:cubicBezTo>
                <a:cubicBezTo>
                  <a:pt x="264" y="102"/>
                  <a:pt x="263" y="101"/>
                  <a:pt x="262" y="101"/>
                </a:cubicBezTo>
                <a:cubicBezTo>
                  <a:pt x="257" y="99"/>
                  <a:pt x="253" y="96"/>
                  <a:pt x="248" y="94"/>
                </a:cubicBezTo>
                <a:cubicBezTo>
                  <a:pt x="248" y="94"/>
                  <a:pt x="248" y="94"/>
                  <a:pt x="248" y="95"/>
                </a:cubicBezTo>
                <a:cubicBezTo>
                  <a:pt x="248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9" y="95"/>
                  <a:pt x="249" y="95"/>
                  <a:pt x="249" y="95"/>
                </a:cubicBezTo>
                <a:cubicBezTo>
                  <a:pt x="246" y="95"/>
                  <a:pt x="243" y="94"/>
                  <a:pt x="242" y="92"/>
                </a:cubicBezTo>
                <a:cubicBezTo>
                  <a:pt x="241" y="92"/>
                  <a:pt x="239" y="90"/>
                  <a:pt x="236" y="90"/>
                </a:cubicBezTo>
                <a:cubicBezTo>
                  <a:pt x="235" y="90"/>
                  <a:pt x="234" y="90"/>
                  <a:pt x="234" y="90"/>
                </a:cubicBezTo>
                <a:cubicBezTo>
                  <a:pt x="232" y="91"/>
                  <a:pt x="235" y="92"/>
                  <a:pt x="237" y="92"/>
                </a:cubicBezTo>
                <a:cubicBezTo>
                  <a:pt x="244" y="96"/>
                  <a:pt x="253" y="100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5"/>
                  <a:pt x="270" y="107"/>
                  <a:pt x="271" y="109"/>
                </a:cubicBezTo>
                <a:cubicBezTo>
                  <a:pt x="261" y="105"/>
                  <a:pt x="252" y="101"/>
                  <a:pt x="243" y="96"/>
                </a:cubicBezTo>
                <a:cubicBezTo>
                  <a:pt x="234" y="91"/>
                  <a:pt x="224" y="87"/>
                  <a:pt x="212" y="82"/>
                </a:cubicBezTo>
                <a:cubicBezTo>
                  <a:pt x="210" y="81"/>
                  <a:pt x="208" y="80"/>
                  <a:pt x="206" y="79"/>
                </a:cubicBezTo>
                <a:cubicBezTo>
                  <a:pt x="202" y="76"/>
                  <a:pt x="195" y="73"/>
                  <a:pt x="190" y="70"/>
                </a:cubicBezTo>
                <a:cubicBezTo>
                  <a:pt x="189" y="70"/>
                  <a:pt x="193" y="71"/>
                  <a:pt x="193" y="72"/>
                </a:cubicBezTo>
                <a:cubicBezTo>
                  <a:pt x="188" y="71"/>
                  <a:pt x="184" y="69"/>
                  <a:pt x="181" y="67"/>
                </a:cubicBezTo>
                <a:cubicBezTo>
                  <a:pt x="179" y="65"/>
                  <a:pt x="177" y="64"/>
                  <a:pt x="171" y="63"/>
                </a:cubicBezTo>
                <a:cubicBezTo>
                  <a:pt x="166" y="62"/>
                  <a:pt x="165" y="60"/>
                  <a:pt x="162" y="59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57" y="57"/>
                  <a:pt x="153" y="54"/>
                  <a:pt x="149" y="52"/>
                </a:cubicBezTo>
                <a:cubicBezTo>
                  <a:pt x="152" y="53"/>
                  <a:pt x="153" y="54"/>
                  <a:pt x="155" y="55"/>
                </a:cubicBezTo>
                <a:cubicBezTo>
                  <a:pt x="156" y="55"/>
                  <a:pt x="158" y="56"/>
                  <a:pt x="161" y="57"/>
                </a:cubicBezTo>
                <a:cubicBezTo>
                  <a:pt x="160" y="56"/>
                  <a:pt x="159" y="55"/>
                  <a:pt x="156" y="55"/>
                </a:cubicBezTo>
                <a:cubicBezTo>
                  <a:pt x="153" y="53"/>
                  <a:pt x="151" y="52"/>
                  <a:pt x="148" y="50"/>
                </a:cubicBezTo>
                <a:cubicBezTo>
                  <a:pt x="146" y="49"/>
                  <a:pt x="145" y="49"/>
                  <a:pt x="143" y="48"/>
                </a:cubicBezTo>
                <a:cubicBezTo>
                  <a:pt x="143" y="48"/>
                  <a:pt x="142" y="48"/>
                  <a:pt x="142" y="48"/>
                </a:cubicBezTo>
                <a:cubicBezTo>
                  <a:pt x="144" y="49"/>
                  <a:pt x="145" y="49"/>
                  <a:pt x="146" y="50"/>
                </a:cubicBezTo>
                <a:cubicBezTo>
                  <a:pt x="146" y="50"/>
                  <a:pt x="145" y="50"/>
                  <a:pt x="145" y="50"/>
                </a:cubicBezTo>
                <a:cubicBezTo>
                  <a:pt x="140" y="47"/>
                  <a:pt x="132" y="44"/>
                  <a:pt x="129" y="41"/>
                </a:cubicBezTo>
                <a:cubicBezTo>
                  <a:pt x="126" y="40"/>
                  <a:pt x="124" y="39"/>
                  <a:pt x="121" y="38"/>
                </a:cubicBezTo>
                <a:cubicBezTo>
                  <a:pt x="121" y="37"/>
                  <a:pt x="120" y="36"/>
                  <a:pt x="116" y="34"/>
                </a:cubicBezTo>
                <a:cubicBezTo>
                  <a:pt x="113" y="32"/>
                  <a:pt x="106" y="30"/>
                  <a:pt x="100" y="28"/>
                </a:cubicBezTo>
                <a:cubicBezTo>
                  <a:pt x="100" y="28"/>
                  <a:pt x="100" y="28"/>
                  <a:pt x="99" y="28"/>
                </a:cubicBezTo>
                <a:cubicBezTo>
                  <a:pt x="98" y="27"/>
                  <a:pt x="96" y="26"/>
                  <a:pt x="94" y="25"/>
                </a:cubicBezTo>
                <a:cubicBezTo>
                  <a:pt x="92" y="24"/>
                  <a:pt x="94" y="24"/>
                  <a:pt x="96" y="25"/>
                </a:cubicBezTo>
                <a:cubicBezTo>
                  <a:pt x="97" y="25"/>
                  <a:pt x="98" y="26"/>
                  <a:pt x="101" y="27"/>
                </a:cubicBezTo>
                <a:cubicBezTo>
                  <a:pt x="100" y="26"/>
                  <a:pt x="98" y="25"/>
                  <a:pt x="97" y="25"/>
                </a:cubicBezTo>
                <a:cubicBezTo>
                  <a:pt x="96" y="24"/>
                  <a:pt x="95" y="24"/>
                  <a:pt x="94" y="24"/>
                </a:cubicBezTo>
                <a:cubicBezTo>
                  <a:pt x="90" y="21"/>
                  <a:pt x="83" y="17"/>
                  <a:pt x="77" y="14"/>
                </a:cubicBezTo>
                <a:cubicBezTo>
                  <a:pt x="75" y="13"/>
                  <a:pt x="74" y="12"/>
                  <a:pt x="69" y="11"/>
                </a:cubicBezTo>
                <a:cubicBezTo>
                  <a:pt x="70" y="12"/>
                  <a:pt x="73" y="13"/>
                  <a:pt x="76" y="14"/>
                </a:cubicBezTo>
                <a:cubicBezTo>
                  <a:pt x="79" y="16"/>
                  <a:pt x="83" y="18"/>
                  <a:pt x="87" y="20"/>
                </a:cubicBezTo>
                <a:cubicBezTo>
                  <a:pt x="85" y="21"/>
                  <a:pt x="90" y="24"/>
                  <a:pt x="92" y="25"/>
                </a:cubicBezTo>
                <a:cubicBezTo>
                  <a:pt x="93" y="27"/>
                  <a:pt x="96" y="28"/>
                  <a:pt x="98" y="29"/>
                </a:cubicBezTo>
                <a:cubicBezTo>
                  <a:pt x="98" y="30"/>
                  <a:pt x="101" y="31"/>
                  <a:pt x="103" y="31"/>
                </a:cubicBezTo>
                <a:cubicBezTo>
                  <a:pt x="108" y="33"/>
                  <a:pt x="113" y="35"/>
                  <a:pt x="110" y="36"/>
                </a:cubicBezTo>
                <a:cubicBezTo>
                  <a:pt x="109" y="37"/>
                  <a:pt x="111" y="38"/>
                  <a:pt x="115" y="39"/>
                </a:cubicBezTo>
                <a:cubicBezTo>
                  <a:pt x="117" y="40"/>
                  <a:pt x="119" y="41"/>
                  <a:pt x="121" y="42"/>
                </a:cubicBezTo>
                <a:cubicBezTo>
                  <a:pt x="122" y="42"/>
                  <a:pt x="124" y="43"/>
                  <a:pt x="125" y="44"/>
                </a:cubicBezTo>
                <a:cubicBezTo>
                  <a:pt x="125" y="44"/>
                  <a:pt x="126" y="45"/>
                  <a:pt x="128" y="46"/>
                </a:cubicBezTo>
                <a:cubicBezTo>
                  <a:pt x="129" y="46"/>
                  <a:pt x="128" y="45"/>
                  <a:pt x="127" y="44"/>
                </a:cubicBezTo>
                <a:cubicBezTo>
                  <a:pt x="126" y="43"/>
                  <a:pt x="125" y="42"/>
                  <a:pt x="123" y="42"/>
                </a:cubicBezTo>
                <a:cubicBezTo>
                  <a:pt x="121" y="40"/>
                  <a:pt x="121" y="40"/>
                  <a:pt x="123" y="40"/>
                </a:cubicBezTo>
                <a:cubicBezTo>
                  <a:pt x="125" y="40"/>
                  <a:pt x="125" y="41"/>
                  <a:pt x="126" y="41"/>
                </a:cubicBezTo>
                <a:cubicBezTo>
                  <a:pt x="134" y="46"/>
                  <a:pt x="143" y="50"/>
                  <a:pt x="151" y="55"/>
                </a:cubicBezTo>
                <a:cubicBezTo>
                  <a:pt x="149" y="54"/>
                  <a:pt x="146" y="53"/>
                  <a:pt x="145" y="53"/>
                </a:cubicBezTo>
                <a:cubicBezTo>
                  <a:pt x="140" y="50"/>
                  <a:pt x="135" y="49"/>
                  <a:pt x="129" y="49"/>
                </a:cubicBezTo>
                <a:cubicBezTo>
                  <a:pt x="129" y="49"/>
                  <a:pt x="130" y="48"/>
                  <a:pt x="129" y="48"/>
                </a:cubicBezTo>
                <a:cubicBezTo>
                  <a:pt x="129" y="48"/>
                  <a:pt x="128" y="47"/>
                  <a:pt x="127" y="47"/>
                </a:cubicBezTo>
                <a:cubicBezTo>
                  <a:pt x="127" y="48"/>
                  <a:pt x="126" y="48"/>
                  <a:pt x="128" y="49"/>
                </a:cubicBezTo>
                <a:cubicBezTo>
                  <a:pt x="129" y="50"/>
                  <a:pt x="122" y="48"/>
                  <a:pt x="126" y="50"/>
                </a:cubicBezTo>
                <a:cubicBezTo>
                  <a:pt x="128" y="51"/>
                  <a:pt x="132" y="52"/>
                  <a:pt x="132" y="51"/>
                </a:cubicBezTo>
                <a:cubicBezTo>
                  <a:pt x="136" y="49"/>
                  <a:pt x="139" y="52"/>
                  <a:pt x="143" y="53"/>
                </a:cubicBezTo>
                <a:cubicBezTo>
                  <a:pt x="144" y="54"/>
                  <a:pt x="146" y="55"/>
                  <a:pt x="147" y="56"/>
                </a:cubicBezTo>
                <a:cubicBezTo>
                  <a:pt x="151" y="58"/>
                  <a:pt x="154" y="57"/>
                  <a:pt x="157" y="58"/>
                </a:cubicBezTo>
                <a:cubicBezTo>
                  <a:pt x="157" y="58"/>
                  <a:pt x="157" y="58"/>
                  <a:pt x="157" y="58"/>
                </a:cubicBezTo>
                <a:cubicBezTo>
                  <a:pt x="158" y="58"/>
                  <a:pt x="158" y="58"/>
                  <a:pt x="158" y="58"/>
                </a:cubicBezTo>
                <a:cubicBezTo>
                  <a:pt x="161" y="60"/>
                  <a:pt x="157" y="60"/>
                  <a:pt x="159" y="62"/>
                </a:cubicBezTo>
                <a:cubicBezTo>
                  <a:pt x="162" y="64"/>
                  <a:pt x="169" y="67"/>
                  <a:pt x="173" y="70"/>
                </a:cubicBezTo>
                <a:cubicBezTo>
                  <a:pt x="175" y="70"/>
                  <a:pt x="176" y="71"/>
                  <a:pt x="177" y="72"/>
                </a:cubicBezTo>
                <a:cubicBezTo>
                  <a:pt x="183" y="74"/>
                  <a:pt x="185" y="76"/>
                  <a:pt x="188" y="78"/>
                </a:cubicBezTo>
                <a:cubicBezTo>
                  <a:pt x="194" y="80"/>
                  <a:pt x="196" y="82"/>
                  <a:pt x="202" y="85"/>
                </a:cubicBezTo>
                <a:cubicBezTo>
                  <a:pt x="204" y="86"/>
                  <a:pt x="207" y="87"/>
                  <a:pt x="209" y="89"/>
                </a:cubicBezTo>
                <a:cubicBezTo>
                  <a:pt x="215" y="92"/>
                  <a:pt x="222" y="95"/>
                  <a:pt x="228" y="98"/>
                </a:cubicBezTo>
                <a:cubicBezTo>
                  <a:pt x="229" y="99"/>
                  <a:pt x="231" y="100"/>
                  <a:pt x="232" y="100"/>
                </a:cubicBezTo>
                <a:cubicBezTo>
                  <a:pt x="231" y="100"/>
                  <a:pt x="230" y="100"/>
                  <a:pt x="229" y="100"/>
                </a:cubicBezTo>
                <a:cubicBezTo>
                  <a:pt x="224" y="97"/>
                  <a:pt x="219" y="95"/>
                  <a:pt x="213" y="93"/>
                </a:cubicBezTo>
                <a:cubicBezTo>
                  <a:pt x="214" y="93"/>
                  <a:pt x="214" y="93"/>
                  <a:pt x="214" y="94"/>
                </a:cubicBezTo>
                <a:cubicBezTo>
                  <a:pt x="214" y="93"/>
                  <a:pt x="213" y="93"/>
                  <a:pt x="213" y="93"/>
                </a:cubicBezTo>
                <a:cubicBezTo>
                  <a:pt x="207" y="89"/>
                  <a:pt x="200" y="86"/>
                  <a:pt x="194" y="83"/>
                </a:cubicBezTo>
                <a:cubicBezTo>
                  <a:pt x="188" y="80"/>
                  <a:pt x="181" y="77"/>
                  <a:pt x="175" y="74"/>
                </a:cubicBezTo>
                <a:cubicBezTo>
                  <a:pt x="165" y="70"/>
                  <a:pt x="155" y="65"/>
                  <a:pt x="146" y="60"/>
                </a:cubicBezTo>
                <a:cubicBezTo>
                  <a:pt x="144" y="59"/>
                  <a:pt x="141" y="58"/>
                  <a:pt x="138" y="57"/>
                </a:cubicBezTo>
                <a:cubicBezTo>
                  <a:pt x="133" y="53"/>
                  <a:pt x="124" y="50"/>
                  <a:pt x="118" y="46"/>
                </a:cubicBezTo>
                <a:cubicBezTo>
                  <a:pt x="118" y="45"/>
                  <a:pt x="113" y="44"/>
                  <a:pt x="110" y="42"/>
                </a:cubicBezTo>
                <a:cubicBezTo>
                  <a:pt x="109" y="43"/>
                  <a:pt x="114" y="45"/>
                  <a:pt x="116" y="46"/>
                </a:cubicBezTo>
                <a:cubicBezTo>
                  <a:pt x="116" y="46"/>
                  <a:pt x="116" y="46"/>
                  <a:pt x="116" y="46"/>
                </a:cubicBezTo>
                <a:cubicBezTo>
                  <a:pt x="115" y="47"/>
                  <a:pt x="113" y="47"/>
                  <a:pt x="106" y="45"/>
                </a:cubicBezTo>
                <a:cubicBezTo>
                  <a:pt x="108" y="46"/>
                  <a:pt x="108" y="48"/>
                  <a:pt x="112" y="49"/>
                </a:cubicBezTo>
                <a:cubicBezTo>
                  <a:pt x="114" y="49"/>
                  <a:pt x="111" y="47"/>
                  <a:pt x="116" y="49"/>
                </a:cubicBezTo>
                <a:cubicBezTo>
                  <a:pt x="120" y="50"/>
                  <a:pt x="119" y="51"/>
                  <a:pt x="122" y="52"/>
                </a:cubicBezTo>
                <a:cubicBezTo>
                  <a:pt x="122" y="54"/>
                  <a:pt x="117" y="53"/>
                  <a:pt x="117" y="53"/>
                </a:cubicBezTo>
                <a:cubicBezTo>
                  <a:pt x="108" y="51"/>
                  <a:pt x="117" y="54"/>
                  <a:pt x="116" y="54"/>
                </a:cubicBezTo>
                <a:cubicBezTo>
                  <a:pt x="117" y="54"/>
                  <a:pt x="116" y="54"/>
                  <a:pt x="115" y="55"/>
                </a:cubicBezTo>
                <a:cubicBezTo>
                  <a:pt x="115" y="55"/>
                  <a:pt x="114" y="55"/>
                  <a:pt x="113" y="55"/>
                </a:cubicBezTo>
                <a:cubicBezTo>
                  <a:pt x="112" y="54"/>
                  <a:pt x="110" y="53"/>
                  <a:pt x="108" y="52"/>
                </a:cubicBezTo>
                <a:cubicBezTo>
                  <a:pt x="106" y="51"/>
                  <a:pt x="104" y="50"/>
                  <a:pt x="102" y="49"/>
                </a:cubicBezTo>
                <a:cubicBezTo>
                  <a:pt x="98" y="46"/>
                  <a:pt x="90" y="43"/>
                  <a:pt x="82" y="39"/>
                </a:cubicBezTo>
                <a:cubicBezTo>
                  <a:pt x="89" y="43"/>
                  <a:pt x="93" y="46"/>
                  <a:pt x="101" y="49"/>
                </a:cubicBezTo>
                <a:cubicBezTo>
                  <a:pt x="103" y="50"/>
                  <a:pt x="105" y="51"/>
                  <a:pt x="108" y="52"/>
                </a:cubicBezTo>
                <a:cubicBezTo>
                  <a:pt x="109" y="54"/>
                  <a:pt x="111" y="55"/>
                  <a:pt x="113" y="56"/>
                </a:cubicBezTo>
                <a:cubicBezTo>
                  <a:pt x="111" y="56"/>
                  <a:pt x="113" y="57"/>
                  <a:pt x="112" y="57"/>
                </a:cubicBezTo>
                <a:cubicBezTo>
                  <a:pt x="108" y="57"/>
                  <a:pt x="106" y="56"/>
                  <a:pt x="104" y="55"/>
                </a:cubicBezTo>
                <a:cubicBezTo>
                  <a:pt x="93" y="49"/>
                  <a:pt x="82" y="42"/>
                  <a:pt x="71" y="36"/>
                </a:cubicBezTo>
                <a:cubicBezTo>
                  <a:pt x="70" y="36"/>
                  <a:pt x="69" y="35"/>
                  <a:pt x="67" y="35"/>
                </a:cubicBezTo>
                <a:cubicBezTo>
                  <a:pt x="66" y="33"/>
                  <a:pt x="63" y="32"/>
                  <a:pt x="60" y="31"/>
                </a:cubicBezTo>
                <a:cubicBezTo>
                  <a:pt x="60" y="30"/>
                  <a:pt x="60" y="30"/>
                  <a:pt x="60" y="30"/>
                </a:cubicBezTo>
                <a:cubicBezTo>
                  <a:pt x="60" y="30"/>
                  <a:pt x="59" y="30"/>
                  <a:pt x="59" y="29"/>
                </a:cubicBezTo>
                <a:cubicBezTo>
                  <a:pt x="57" y="28"/>
                  <a:pt x="55" y="27"/>
                  <a:pt x="52" y="25"/>
                </a:cubicBezTo>
                <a:cubicBezTo>
                  <a:pt x="51" y="24"/>
                  <a:pt x="51" y="23"/>
                  <a:pt x="44" y="20"/>
                </a:cubicBezTo>
                <a:cubicBezTo>
                  <a:pt x="37" y="18"/>
                  <a:pt x="34" y="15"/>
                  <a:pt x="35" y="13"/>
                </a:cubicBezTo>
                <a:cubicBezTo>
                  <a:pt x="35" y="12"/>
                  <a:pt x="37" y="12"/>
                  <a:pt x="36" y="11"/>
                </a:cubicBezTo>
                <a:cubicBezTo>
                  <a:pt x="33" y="11"/>
                  <a:pt x="30" y="10"/>
                  <a:pt x="27" y="10"/>
                </a:cubicBezTo>
                <a:cubicBezTo>
                  <a:pt x="25" y="9"/>
                  <a:pt x="24" y="8"/>
                  <a:pt x="23" y="8"/>
                </a:cubicBezTo>
                <a:cubicBezTo>
                  <a:pt x="23" y="7"/>
                  <a:pt x="22" y="7"/>
                  <a:pt x="22" y="7"/>
                </a:cubicBezTo>
                <a:cubicBezTo>
                  <a:pt x="19" y="5"/>
                  <a:pt x="17" y="4"/>
                  <a:pt x="14" y="2"/>
                </a:cubicBezTo>
                <a:cubicBezTo>
                  <a:pt x="13" y="2"/>
                  <a:pt x="12" y="1"/>
                  <a:pt x="9" y="0"/>
                </a:cubicBezTo>
                <a:cubicBezTo>
                  <a:pt x="9" y="1"/>
                  <a:pt x="11" y="2"/>
                  <a:pt x="13" y="2"/>
                </a:cubicBezTo>
                <a:cubicBezTo>
                  <a:pt x="13" y="3"/>
                  <a:pt x="13" y="3"/>
                  <a:pt x="13" y="3"/>
                </a:cubicBezTo>
                <a:cubicBezTo>
                  <a:pt x="13" y="3"/>
                  <a:pt x="12" y="3"/>
                  <a:pt x="12" y="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2"/>
                  <a:pt x="9" y="1"/>
                  <a:pt x="5" y="0"/>
                </a:cubicBezTo>
                <a:cubicBezTo>
                  <a:pt x="5" y="0"/>
                  <a:pt x="7" y="1"/>
                  <a:pt x="10" y="3"/>
                </a:cubicBezTo>
                <a:cubicBezTo>
                  <a:pt x="11" y="3"/>
                  <a:pt x="12" y="4"/>
                  <a:pt x="14" y="5"/>
                </a:cubicBezTo>
                <a:cubicBezTo>
                  <a:pt x="13" y="5"/>
                  <a:pt x="16" y="6"/>
                  <a:pt x="17" y="7"/>
                </a:cubicBezTo>
                <a:cubicBezTo>
                  <a:pt x="17" y="7"/>
                  <a:pt x="17" y="8"/>
                  <a:pt x="18" y="8"/>
                </a:cubicBezTo>
                <a:cubicBezTo>
                  <a:pt x="21" y="9"/>
                  <a:pt x="22" y="11"/>
                  <a:pt x="25" y="12"/>
                </a:cubicBezTo>
                <a:cubicBezTo>
                  <a:pt x="25" y="13"/>
                  <a:pt x="28" y="14"/>
                  <a:pt x="30" y="15"/>
                </a:cubicBezTo>
                <a:cubicBezTo>
                  <a:pt x="31" y="16"/>
                  <a:pt x="33" y="17"/>
                  <a:pt x="33" y="18"/>
                </a:cubicBezTo>
                <a:cubicBezTo>
                  <a:pt x="33" y="18"/>
                  <a:pt x="33" y="18"/>
                  <a:pt x="33" y="18"/>
                </a:cubicBezTo>
                <a:cubicBezTo>
                  <a:pt x="32" y="18"/>
                  <a:pt x="31" y="18"/>
                  <a:pt x="32" y="18"/>
                </a:cubicBezTo>
                <a:cubicBezTo>
                  <a:pt x="33" y="19"/>
                  <a:pt x="35" y="19"/>
                  <a:pt x="36" y="19"/>
                </a:cubicBezTo>
                <a:cubicBezTo>
                  <a:pt x="42" y="22"/>
                  <a:pt x="41" y="23"/>
                  <a:pt x="46" y="26"/>
                </a:cubicBezTo>
                <a:cubicBezTo>
                  <a:pt x="47" y="27"/>
                  <a:pt x="51" y="28"/>
                  <a:pt x="51" y="29"/>
                </a:cubicBezTo>
                <a:cubicBezTo>
                  <a:pt x="42" y="25"/>
                  <a:pt x="34" y="21"/>
                  <a:pt x="28" y="18"/>
                </a:cubicBezTo>
                <a:cubicBezTo>
                  <a:pt x="28" y="17"/>
                  <a:pt x="28" y="17"/>
                  <a:pt x="26" y="16"/>
                </a:cubicBezTo>
                <a:cubicBezTo>
                  <a:pt x="24" y="15"/>
                  <a:pt x="22" y="14"/>
                  <a:pt x="19" y="13"/>
                </a:cubicBezTo>
                <a:cubicBezTo>
                  <a:pt x="20" y="14"/>
                  <a:pt x="21" y="15"/>
                  <a:pt x="23" y="16"/>
                </a:cubicBezTo>
                <a:cubicBezTo>
                  <a:pt x="24" y="16"/>
                  <a:pt x="25" y="17"/>
                  <a:pt x="26" y="17"/>
                </a:cubicBezTo>
                <a:cubicBezTo>
                  <a:pt x="26" y="18"/>
                  <a:pt x="29" y="19"/>
                  <a:pt x="29" y="20"/>
                </a:cubicBezTo>
                <a:cubicBezTo>
                  <a:pt x="28" y="19"/>
                  <a:pt x="27" y="19"/>
                  <a:pt x="25" y="18"/>
                </a:cubicBezTo>
                <a:cubicBezTo>
                  <a:pt x="23" y="18"/>
                  <a:pt x="25" y="19"/>
                  <a:pt x="26" y="20"/>
                </a:cubicBezTo>
                <a:cubicBezTo>
                  <a:pt x="28" y="21"/>
                  <a:pt x="31" y="22"/>
                  <a:pt x="35" y="23"/>
                </a:cubicBezTo>
                <a:cubicBezTo>
                  <a:pt x="37" y="25"/>
                  <a:pt x="41" y="28"/>
                  <a:pt x="46" y="30"/>
                </a:cubicBezTo>
                <a:cubicBezTo>
                  <a:pt x="50" y="32"/>
                  <a:pt x="43" y="31"/>
                  <a:pt x="43" y="33"/>
                </a:cubicBezTo>
                <a:cubicBezTo>
                  <a:pt x="42" y="33"/>
                  <a:pt x="41" y="33"/>
                  <a:pt x="39" y="32"/>
                </a:cubicBezTo>
                <a:cubicBezTo>
                  <a:pt x="35" y="30"/>
                  <a:pt x="31" y="28"/>
                  <a:pt x="29" y="26"/>
                </a:cubicBezTo>
                <a:cubicBezTo>
                  <a:pt x="31" y="25"/>
                  <a:pt x="33" y="27"/>
                  <a:pt x="35" y="27"/>
                </a:cubicBezTo>
                <a:cubicBezTo>
                  <a:pt x="33" y="26"/>
                  <a:pt x="32" y="24"/>
                  <a:pt x="28" y="24"/>
                </a:cubicBezTo>
                <a:cubicBezTo>
                  <a:pt x="25" y="23"/>
                  <a:pt x="28" y="25"/>
                  <a:pt x="27" y="25"/>
                </a:cubicBezTo>
                <a:cubicBezTo>
                  <a:pt x="22" y="24"/>
                  <a:pt x="22" y="25"/>
                  <a:pt x="24" y="26"/>
                </a:cubicBezTo>
                <a:cubicBezTo>
                  <a:pt x="28" y="28"/>
                  <a:pt x="32" y="30"/>
                  <a:pt x="36" y="32"/>
                </a:cubicBezTo>
                <a:cubicBezTo>
                  <a:pt x="37" y="33"/>
                  <a:pt x="41" y="34"/>
                  <a:pt x="40" y="35"/>
                </a:cubicBezTo>
                <a:cubicBezTo>
                  <a:pt x="36" y="34"/>
                  <a:pt x="40" y="36"/>
                  <a:pt x="39" y="36"/>
                </a:cubicBezTo>
                <a:cubicBezTo>
                  <a:pt x="36" y="36"/>
                  <a:pt x="35" y="35"/>
                  <a:pt x="33" y="35"/>
                </a:cubicBezTo>
                <a:cubicBezTo>
                  <a:pt x="27" y="33"/>
                  <a:pt x="26" y="31"/>
                  <a:pt x="19" y="29"/>
                </a:cubicBezTo>
                <a:cubicBezTo>
                  <a:pt x="20" y="30"/>
                  <a:pt x="25" y="31"/>
                  <a:pt x="25" y="32"/>
                </a:cubicBezTo>
                <a:cubicBezTo>
                  <a:pt x="25" y="34"/>
                  <a:pt x="35" y="37"/>
                  <a:pt x="32" y="38"/>
                </a:cubicBezTo>
                <a:cubicBezTo>
                  <a:pt x="31" y="38"/>
                  <a:pt x="30" y="37"/>
                  <a:pt x="29" y="37"/>
                </a:cubicBezTo>
                <a:cubicBezTo>
                  <a:pt x="29" y="35"/>
                  <a:pt x="21" y="33"/>
                  <a:pt x="18" y="31"/>
                </a:cubicBezTo>
                <a:cubicBezTo>
                  <a:pt x="19" y="33"/>
                  <a:pt x="21" y="34"/>
                  <a:pt x="25" y="36"/>
                </a:cubicBezTo>
                <a:cubicBezTo>
                  <a:pt x="29" y="38"/>
                  <a:pt x="34" y="40"/>
                  <a:pt x="38" y="43"/>
                </a:cubicBezTo>
                <a:cubicBezTo>
                  <a:pt x="33" y="41"/>
                  <a:pt x="29" y="40"/>
                  <a:pt x="24" y="38"/>
                </a:cubicBezTo>
                <a:cubicBezTo>
                  <a:pt x="24" y="37"/>
                  <a:pt x="23" y="36"/>
                  <a:pt x="21" y="35"/>
                </a:cubicBezTo>
                <a:cubicBezTo>
                  <a:pt x="19" y="35"/>
                  <a:pt x="19" y="36"/>
                  <a:pt x="21" y="37"/>
                </a:cubicBezTo>
                <a:cubicBezTo>
                  <a:pt x="22" y="38"/>
                  <a:pt x="22" y="38"/>
                  <a:pt x="22" y="38"/>
                </a:cubicBezTo>
                <a:cubicBezTo>
                  <a:pt x="28" y="44"/>
                  <a:pt x="35" y="49"/>
                  <a:pt x="44" y="55"/>
                </a:cubicBezTo>
                <a:cubicBezTo>
                  <a:pt x="43" y="55"/>
                  <a:pt x="43" y="55"/>
                  <a:pt x="42" y="54"/>
                </a:cubicBezTo>
                <a:cubicBezTo>
                  <a:pt x="34" y="50"/>
                  <a:pt x="25" y="45"/>
                  <a:pt x="17" y="40"/>
                </a:cubicBezTo>
                <a:cubicBezTo>
                  <a:pt x="12" y="37"/>
                  <a:pt x="6" y="34"/>
                  <a:pt x="0" y="31"/>
                </a:cubicBezTo>
                <a:cubicBezTo>
                  <a:pt x="0" y="84"/>
                  <a:pt x="0" y="84"/>
                  <a:pt x="0" y="84"/>
                </a:cubicBezTo>
                <a:cubicBezTo>
                  <a:pt x="0" y="84"/>
                  <a:pt x="1" y="85"/>
                  <a:pt x="1" y="85"/>
                </a:cubicBezTo>
                <a:cubicBezTo>
                  <a:pt x="2" y="86"/>
                  <a:pt x="3" y="86"/>
                  <a:pt x="4" y="87"/>
                </a:cubicBezTo>
                <a:cubicBezTo>
                  <a:pt x="4" y="87"/>
                  <a:pt x="5" y="88"/>
                  <a:pt x="6" y="88"/>
                </a:cubicBezTo>
                <a:cubicBezTo>
                  <a:pt x="4" y="88"/>
                  <a:pt x="2" y="88"/>
                  <a:pt x="0" y="88"/>
                </a:cubicBezTo>
                <a:cubicBezTo>
                  <a:pt x="0" y="107"/>
                  <a:pt x="0" y="107"/>
                  <a:pt x="0" y="107"/>
                </a:cubicBezTo>
                <a:cubicBezTo>
                  <a:pt x="0" y="107"/>
                  <a:pt x="0" y="107"/>
                  <a:pt x="1" y="107"/>
                </a:cubicBezTo>
                <a:cubicBezTo>
                  <a:pt x="1" y="108"/>
                  <a:pt x="1" y="108"/>
                  <a:pt x="2" y="109"/>
                </a:cubicBezTo>
                <a:cubicBezTo>
                  <a:pt x="1" y="109"/>
                  <a:pt x="1" y="109"/>
                  <a:pt x="0" y="109"/>
                </a:cubicBezTo>
                <a:cubicBezTo>
                  <a:pt x="0" y="109"/>
                  <a:pt x="0" y="109"/>
                  <a:pt x="0" y="108"/>
                </a:cubicBezTo>
                <a:cubicBezTo>
                  <a:pt x="0" y="126"/>
                  <a:pt x="0" y="126"/>
                  <a:pt x="0" y="126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27"/>
                  <a:pt x="0" y="127"/>
                  <a:pt x="0" y="127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59"/>
                  <a:pt x="0" y="159"/>
                  <a:pt x="0" y="15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20"/>
                  <a:pt x="0" y="220"/>
                  <a:pt x="0" y="220"/>
                </a:cubicBezTo>
                <a:cubicBezTo>
                  <a:pt x="1" y="220"/>
                  <a:pt x="2" y="220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3" y="221"/>
                  <a:pt x="3" y="221"/>
                  <a:pt x="3" y="221"/>
                </a:cubicBezTo>
                <a:cubicBezTo>
                  <a:pt x="2" y="221"/>
                  <a:pt x="1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3"/>
                  <a:pt x="0" y="223"/>
                  <a:pt x="0" y="223"/>
                </a:cubicBezTo>
                <a:cubicBezTo>
                  <a:pt x="0" y="229"/>
                  <a:pt x="0" y="229"/>
                  <a:pt x="0" y="229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18" y="231"/>
                  <a:pt x="23" y="234"/>
                  <a:pt x="28" y="236"/>
                </a:cubicBezTo>
                <a:cubicBezTo>
                  <a:pt x="42" y="243"/>
                  <a:pt x="57" y="249"/>
                  <a:pt x="70" y="256"/>
                </a:cubicBezTo>
                <a:cubicBezTo>
                  <a:pt x="70" y="256"/>
                  <a:pt x="70" y="256"/>
                  <a:pt x="70" y="256"/>
                </a:cubicBezTo>
                <a:cubicBezTo>
                  <a:pt x="72" y="257"/>
                  <a:pt x="73" y="258"/>
                  <a:pt x="76" y="258"/>
                </a:cubicBezTo>
                <a:cubicBezTo>
                  <a:pt x="78" y="259"/>
                  <a:pt x="79" y="260"/>
                  <a:pt x="81" y="261"/>
                </a:cubicBezTo>
                <a:cubicBezTo>
                  <a:pt x="80" y="260"/>
                  <a:pt x="77" y="259"/>
                  <a:pt x="77" y="258"/>
                </a:cubicBezTo>
                <a:cubicBezTo>
                  <a:pt x="76" y="258"/>
                  <a:pt x="75" y="257"/>
                  <a:pt x="75" y="257"/>
                </a:cubicBezTo>
                <a:cubicBezTo>
                  <a:pt x="74" y="256"/>
                  <a:pt x="72" y="256"/>
                  <a:pt x="72" y="255"/>
                </a:cubicBezTo>
                <a:cubicBezTo>
                  <a:pt x="74" y="255"/>
                  <a:pt x="70" y="254"/>
                  <a:pt x="71" y="254"/>
                </a:cubicBezTo>
                <a:cubicBezTo>
                  <a:pt x="72" y="254"/>
                  <a:pt x="73" y="254"/>
                  <a:pt x="73" y="254"/>
                </a:cubicBezTo>
                <a:cubicBezTo>
                  <a:pt x="73" y="254"/>
                  <a:pt x="71" y="253"/>
                  <a:pt x="70" y="253"/>
                </a:cubicBezTo>
                <a:cubicBezTo>
                  <a:pt x="69" y="252"/>
                  <a:pt x="67" y="252"/>
                  <a:pt x="67" y="251"/>
                </a:cubicBezTo>
                <a:cubicBezTo>
                  <a:pt x="68" y="252"/>
                  <a:pt x="70" y="252"/>
                  <a:pt x="71" y="253"/>
                </a:cubicBezTo>
                <a:cubicBezTo>
                  <a:pt x="72" y="253"/>
                  <a:pt x="72" y="253"/>
                  <a:pt x="72" y="253"/>
                </a:cubicBezTo>
                <a:cubicBezTo>
                  <a:pt x="70" y="252"/>
                  <a:pt x="69" y="251"/>
                  <a:pt x="67" y="251"/>
                </a:cubicBezTo>
                <a:cubicBezTo>
                  <a:pt x="66" y="250"/>
                  <a:pt x="65" y="249"/>
                  <a:pt x="63" y="249"/>
                </a:cubicBezTo>
                <a:cubicBezTo>
                  <a:pt x="63" y="248"/>
                  <a:pt x="64" y="248"/>
                  <a:pt x="64" y="248"/>
                </a:cubicBezTo>
                <a:cubicBezTo>
                  <a:pt x="66" y="249"/>
                  <a:pt x="68" y="250"/>
                  <a:pt x="70" y="251"/>
                </a:cubicBezTo>
                <a:cubicBezTo>
                  <a:pt x="74" y="253"/>
                  <a:pt x="79" y="255"/>
                  <a:pt x="84" y="258"/>
                </a:cubicBezTo>
                <a:cubicBezTo>
                  <a:pt x="84" y="258"/>
                  <a:pt x="85" y="258"/>
                  <a:pt x="85" y="258"/>
                </a:cubicBezTo>
                <a:cubicBezTo>
                  <a:pt x="86" y="259"/>
                  <a:pt x="88" y="259"/>
                  <a:pt x="89" y="260"/>
                </a:cubicBezTo>
                <a:cubicBezTo>
                  <a:pt x="90" y="260"/>
                  <a:pt x="91" y="261"/>
                  <a:pt x="93" y="261"/>
                </a:cubicBezTo>
                <a:cubicBezTo>
                  <a:pt x="95" y="262"/>
                  <a:pt x="96" y="263"/>
                  <a:pt x="99" y="264"/>
                </a:cubicBezTo>
                <a:cubicBezTo>
                  <a:pt x="99" y="263"/>
                  <a:pt x="97" y="262"/>
                  <a:pt x="94" y="261"/>
                </a:cubicBezTo>
                <a:cubicBezTo>
                  <a:pt x="90" y="258"/>
                  <a:pt x="86" y="257"/>
                  <a:pt x="82" y="256"/>
                </a:cubicBezTo>
                <a:cubicBezTo>
                  <a:pt x="77" y="254"/>
                  <a:pt x="73" y="252"/>
                  <a:pt x="68" y="250"/>
                </a:cubicBezTo>
                <a:cubicBezTo>
                  <a:pt x="65" y="248"/>
                  <a:pt x="61" y="247"/>
                  <a:pt x="58" y="245"/>
                </a:cubicBezTo>
                <a:cubicBezTo>
                  <a:pt x="56" y="244"/>
                  <a:pt x="54" y="243"/>
                  <a:pt x="52" y="242"/>
                </a:cubicBezTo>
                <a:cubicBezTo>
                  <a:pt x="51" y="241"/>
                  <a:pt x="49" y="240"/>
                  <a:pt x="48" y="240"/>
                </a:cubicBezTo>
                <a:cubicBezTo>
                  <a:pt x="50" y="240"/>
                  <a:pt x="51" y="241"/>
                  <a:pt x="53" y="242"/>
                </a:cubicBezTo>
                <a:cubicBezTo>
                  <a:pt x="53" y="242"/>
                  <a:pt x="54" y="242"/>
                  <a:pt x="55" y="242"/>
                </a:cubicBezTo>
                <a:cubicBezTo>
                  <a:pt x="55" y="242"/>
                  <a:pt x="55" y="242"/>
                  <a:pt x="55" y="242"/>
                </a:cubicBezTo>
                <a:cubicBezTo>
                  <a:pt x="55" y="242"/>
                  <a:pt x="53" y="241"/>
                  <a:pt x="51" y="240"/>
                </a:cubicBezTo>
                <a:cubicBezTo>
                  <a:pt x="51" y="240"/>
                  <a:pt x="50" y="240"/>
                  <a:pt x="50" y="239"/>
                </a:cubicBezTo>
                <a:cubicBezTo>
                  <a:pt x="48" y="239"/>
                  <a:pt x="47" y="238"/>
                  <a:pt x="46" y="237"/>
                </a:cubicBezTo>
                <a:cubicBezTo>
                  <a:pt x="44" y="237"/>
                  <a:pt x="43" y="237"/>
                  <a:pt x="41" y="236"/>
                </a:cubicBezTo>
                <a:cubicBezTo>
                  <a:pt x="41" y="236"/>
                  <a:pt x="41" y="235"/>
                  <a:pt x="41" y="235"/>
                </a:cubicBezTo>
                <a:cubicBezTo>
                  <a:pt x="39" y="234"/>
                  <a:pt x="38" y="233"/>
                  <a:pt x="35" y="233"/>
                </a:cubicBezTo>
                <a:cubicBezTo>
                  <a:pt x="33" y="232"/>
                  <a:pt x="31" y="230"/>
                  <a:pt x="28" y="229"/>
                </a:cubicBezTo>
                <a:cubicBezTo>
                  <a:pt x="28" y="229"/>
                  <a:pt x="28" y="229"/>
                  <a:pt x="28" y="229"/>
                </a:cubicBezTo>
                <a:cubicBezTo>
                  <a:pt x="33" y="229"/>
                  <a:pt x="33" y="229"/>
                  <a:pt x="33" y="229"/>
                </a:cubicBezTo>
                <a:cubicBezTo>
                  <a:pt x="41" y="233"/>
                  <a:pt x="49" y="236"/>
                  <a:pt x="57" y="240"/>
                </a:cubicBezTo>
                <a:cubicBezTo>
                  <a:pt x="58" y="240"/>
                  <a:pt x="59" y="240"/>
                  <a:pt x="60" y="241"/>
                </a:cubicBezTo>
                <a:cubicBezTo>
                  <a:pt x="63" y="242"/>
                  <a:pt x="66" y="244"/>
                  <a:pt x="69" y="245"/>
                </a:cubicBezTo>
                <a:cubicBezTo>
                  <a:pt x="70" y="246"/>
                  <a:pt x="71" y="246"/>
                  <a:pt x="71" y="246"/>
                </a:cubicBezTo>
                <a:cubicBezTo>
                  <a:pt x="72" y="246"/>
                  <a:pt x="73" y="246"/>
                  <a:pt x="74" y="246"/>
                </a:cubicBezTo>
                <a:cubicBezTo>
                  <a:pt x="87" y="252"/>
                  <a:pt x="98" y="259"/>
                  <a:pt x="112" y="265"/>
                </a:cubicBezTo>
                <a:cubicBezTo>
                  <a:pt x="112" y="266"/>
                  <a:pt x="114" y="267"/>
                  <a:pt x="116" y="268"/>
                </a:cubicBezTo>
                <a:cubicBezTo>
                  <a:pt x="117" y="268"/>
                  <a:pt x="117" y="269"/>
                  <a:pt x="121" y="269"/>
                </a:cubicBezTo>
                <a:cubicBezTo>
                  <a:pt x="122" y="269"/>
                  <a:pt x="124" y="270"/>
                  <a:pt x="125" y="271"/>
                </a:cubicBezTo>
                <a:cubicBezTo>
                  <a:pt x="130" y="273"/>
                  <a:pt x="133" y="275"/>
                  <a:pt x="139" y="277"/>
                </a:cubicBezTo>
                <a:cubicBezTo>
                  <a:pt x="137" y="276"/>
                  <a:pt x="133" y="274"/>
                  <a:pt x="133" y="273"/>
                </a:cubicBezTo>
                <a:cubicBezTo>
                  <a:pt x="143" y="277"/>
                  <a:pt x="152" y="281"/>
                  <a:pt x="160" y="286"/>
                </a:cubicBezTo>
                <a:cubicBezTo>
                  <a:pt x="162" y="287"/>
                  <a:pt x="164" y="288"/>
                  <a:pt x="168" y="289"/>
                </a:cubicBezTo>
                <a:cubicBezTo>
                  <a:pt x="168" y="289"/>
                  <a:pt x="169" y="290"/>
                  <a:pt x="169" y="290"/>
                </a:cubicBezTo>
                <a:cubicBezTo>
                  <a:pt x="171" y="291"/>
                  <a:pt x="176" y="293"/>
                  <a:pt x="178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9" y="295"/>
                </a:cubicBezTo>
                <a:cubicBezTo>
                  <a:pt x="179" y="295"/>
                  <a:pt x="179" y="295"/>
                  <a:pt x="178" y="295"/>
                </a:cubicBezTo>
                <a:cubicBezTo>
                  <a:pt x="181" y="297"/>
                  <a:pt x="186" y="299"/>
                  <a:pt x="190" y="301"/>
                </a:cubicBezTo>
                <a:cubicBezTo>
                  <a:pt x="195" y="303"/>
                  <a:pt x="200" y="306"/>
                  <a:pt x="202" y="308"/>
                </a:cubicBezTo>
                <a:cubicBezTo>
                  <a:pt x="203" y="309"/>
                  <a:pt x="204" y="309"/>
                  <a:pt x="204" y="309"/>
                </a:cubicBezTo>
                <a:cubicBezTo>
                  <a:pt x="208" y="311"/>
                  <a:pt x="214" y="314"/>
                  <a:pt x="218" y="316"/>
                </a:cubicBezTo>
                <a:cubicBezTo>
                  <a:pt x="219" y="317"/>
                  <a:pt x="221" y="318"/>
                  <a:pt x="224" y="318"/>
                </a:cubicBezTo>
                <a:cubicBezTo>
                  <a:pt x="225" y="318"/>
                  <a:pt x="226" y="319"/>
                  <a:pt x="228" y="320"/>
                </a:cubicBezTo>
                <a:cubicBezTo>
                  <a:pt x="228" y="320"/>
                  <a:pt x="229" y="320"/>
                  <a:pt x="229" y="320"/>
                </a:cubicBezTo>
                <a:cubicBezTo>
                  <a:pt x="229" y="320"/>
                  <a:pt x="229" y="320"/>
                  <a:pt x="229" y="320"/>
                </a:cubicBezTo>
                <a:cubicBezTo>
                  <a:pt x="226" y="317"/>
                  <a:pt x="221" y="315"/>
                  <a:pt x="216" y="313"/>
                </a:cubicBezTo>
                <a:cubicBezTo>
                  <a:pt x="214" y="312"/>
                  <a:pt x="211" y="311"/>
                  <a:pt x="211" y="310"/>
                </a:cubicBezTo>
                <a:cubicBezTo>
                  <a:pt x="204" y="309"/>
                  <a:pt x="209" y="308"/>
                  <a:pt x="204" y="306"/>
                </a:cubicBezTo>
                <a:cubicBezTo>
                  <a:pt x="204" y="306"/>
                  <a:pt x="204" y="306"/>
                  <a:pt x="204" y="306"/>
                </a:cubicBezTo>
                <a:cubicBezTo>
                  <a:pt x="203" y="305"/>
                  <a:pt x="203" y="304"/>
                  <a:pt x="200" y="303"/>
                </a:cubicBezTo>
                <a:cubicBezTo>
                  <a:pt x="197" y="302"/>
                  <a:pt x="193" y="300"/>
                  <a:pt x="191" y="299"/>
                </a:cubicBezTo>
                <a:cubicBezTo>
                  <a:pt x="189" y="297"/>
                  <a:pt x="188" y="298"/>
                  <a:pt x="186" y="298"/>
                </a:cubicBezTo>
                <a:cubicBezTo>
                  <a:pt x="186" y="297"/>
                  <a:pt x="188" y="297"/>
                  <a:pt x="185" y="296"/>
                </a:cubicBezTo>
                <a:cubicBezTo>
                  <a:pt x="185" y="295"/>
                  <a:pt x="181" y="294"/>
                  <a:pt x="181" y="293"/>
                </a:cubicBezTo>
                <a:cubicBezTo>
                  <a:pt x="181" y="293"/>
                  <a:pt x="182" y="293"/>
                  <a:pt x="182" y="293"/>
                </a:cubicBezTo>
                <a:cubicBezTo>
                  <a:pt x="184" y="293"/>
                  <a:pt x="183" y="293"/>
                  <a:pt x="183" y="292"/>
                </a:cubicBezTo>
                <a:cubicBezTo>
                  <a:pt x="187" y="293"/>
                  <a:pt x="190" y="295"/>
                  <a:pt x="190" y="295"/>
                </a:cubicBezTo>
                <a:cubicBezTo>
                  <a:pt x="190" y="297"/>
                  <a:pt x="192" y="297"/>
                  <a:pt x="196" y="298"/>
                </a:cubicBezTo>
                <a:cubicBezTo>
                  <a:pt x="198" y="299"/>
                  <a:pt x="200" y="300"/>
                  <a:pt x="201" y="301"/>
                </a:cubicBezTo>
                <a:cubicBezTo>
                  <a:pt x="202" y="301"/>
                  <a:pt x="204" y="302"/>
                  <a:pt x="206" y="302"/>
                </a:cubicBezTo>
                <a:cubicBezTo>
                  <a:pt x="206" y="303"/>
                  <a:pt x="206" y="303"/>
                  <a:pt x="207" y="303"/>
                </a:cubicBezTo>
                <a:cubicBezTo>
                  <a:pt x="210" y="304"/>
                  <a:pt x="214" y="306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18" y="308"/>
                  <a:pt x="218" y="308"/>
                  <a:pt x="218" y="308"/>
                </a:cubicBezTo>
                <a:cubicBezTo>
                  <a:pt x="220" y="309"/>
                  <a:pt x="223" y="310"/>
                  <a:pt x="225" y="311"/>
                </a:cubicBezTo>
                <a:cubicBezTo>
                  <a:pt x="229" y="312"/>
                  <a:pt x="232" y="314"/>
                  <a:pt x="236" y="316"/>
                </a:cubicBezTo>
                <a:cubicBezTo>
                  <a:pt x="235" y="314"/>
                  <a:pt x="225" y="311"/>
                  <a:pt x="227" y="310"/>
                </a:cubicBezTo>
                <a:cubicBezTo>
                  <a:pt x="228" y="310"/>
                  <a:pt x="228" y="309"/>
                  <a:pt x="228" y="309"/>
                </a:cubicBezTo>
                <a:cubicBezTo>
                  <a:pt x="228" y="309"/>
                  <a:pt x="228" y="308"/>
                  <a:pt x="227" y="308"/>
                </a:cubicBezTo>
                <a:cubicBezTo>
                  <a:pt x="225" y="308"/>
                  <a:pt x="223" y="307"/>
                  <a:pt x="220" y="306"/>
                </a:cubicBezTo>
                <a:cubicBezTo>
                  <a:pt x="220" y="306"/>
                  <a:pt x="219" y="305"/>
                  <a:pt x="218" y="305"/>
                </a:cubicBezTo>
                <a:cubicBezTo>
                  <a:pt x="217" y="305"/>
                  <a:pt x="216" y="304"/>
                  <a:pt x="216" y="304"/>
                </a:cubicBezTo>
                <a:cubicBezTo>
                  <a:pt x="210" y="301"/>
                  <a:pt x="206" y="298"/>
                  <a:pt x="202" y="296"/>
                </a:cubicBezTo>
                <a:cubicBezTo>
                  <a:pt x="204" y="296"/>
                  <a:pt x="206" y="297"/>
                  <a:pt x="208" y="298"/>
                </a:cubicBezTo>
                <a:cubicBezTo>
                  <a:pt x="208" y="297"/>
                  <a:pt x="204" y="296"/>
                  <a:pt x="203" y="295"/>
                </a:cubicBezTo>
                <a:cubicBezTo>
                  <a:pt x="203" y="295"/>
                  <a:pt x="203" y="295"/>
                  <a:pt x="204" y="295"/>
                </a:cubicBezTo>
                <a:cubicBezTo>
                  <a:pt x="204" y="295"/>
                  <a:pt x="204" y="295"/>
                  <a:pt x="204" y="295"/>
                </a:cubicBezTo>
                <a:cubicBezTo>
                  <a:pt x="204" y="295"/>
                  <a:pt x="204" y="294"/>
                  <a:pt x="205" y="295"/>
                </a:cubicBezTo>
                <a:cubicBezTo>
                  <a:pt x="208" y="296"/>
                  <a:pt x="209" y="296"/>
                  <a:pt x="210" y="296"/>
                </a:cubicBezTo>
                <a:cubicBezTo>
                  <a:pt x="211" y="295"/>
                  <a:pt x="209" y="295"/>
                  <a:pt x="208" y="294"/>
                </a:cubicBezTo>
                <a:cubicBezTo>
                  <a:pt x="205" y="293"/>
                  <a:pt x="202" y="292"/>
                  <a:pt x="201" y="291"/>
                </a:cubicBezTo>
                <a:cubicBezTo>
                  <a:pt x="199" y="289"/>
                  <a:pt x="197" y="289"/>
                  <a:pt x="195" y="289"/>
                </a:cubicBezTo>
                <a:cubicBezTo>
                  <a:pt x="193" y="288"/>
                  <a:pt x="191" y="287"/>
                  <a:pt x="187" y="285"/>
                </a:cubicBezTo>
                <a:cubicBezTo>
                  <a:pt x="189" y="287"/>
                  <a:pt x="191" y="288"/>
                  <a:pt x="195" y="289"/>
                </a:cubicBezTo>
                <a:cubicBezTo>
                  <a:pt x="197" y="290"/>
                  <a:pt x="199" y="291"/>
                  <a:pt x="201" y="292"/>
                </a:cubicBezTo>
                <a:cubicBezTo>
                  <a:pt x="203" y="293"/>
                  <a:pt x="203" y="294"/>
                  <a:pt x="201" y="294"/>
                </a:cubicBezTo>
                <a:cubicBezTo>
                  <a:pt x="199" y="293"/>
                  <a:pt x="196" y="291"/>
                  <a:pt x="195" y="293"/>
                </a:cubicBezTo>
                <a:cubicBezTo>
                  <a:pt x="195" y="292"/>
                  <a:pt x="194" y="292"/>
                  <a:pt x="193" y="292"/>
                </a:cubicBezTo>
                <a:cubicBezTo>
                  <a:pt x="193" y="291"/>
                  <a:pt x="191" y="290"/>
                  <a:pt x="189" y="290"/>
                </a:cubicBezTo>
                <a:cubicBezTo>
                  <a:pt x="184" y="287"/>
                  <a:pt x="178" y="284"/>
                  <a:pt x="172" y="281"/>
                </a:cubicBezTo>
                <a:cubicBezTo>
                  <a:pt x="169" y="279"/>
                  <a:pt x="167" y="277"/>
                  <a:pt x="162" y="275"/>
                </a:cubicBezTo>
                <a:cubicBezTo>
                  <a:pt x="160" y="273"/>
                  <a:pt x="154" y="271"/>
                  <a:pt x="152" y="269"/>
                </a:cubicBezTo>
                <a:cubicBezTo>
                  <a:pt x="151" y="269"/>
                  <a:pt x="149" y="268"/>
                  <a:pt x="148" y="267"/>
                </a:cubicBezTo>
                <a:cubicBezTo>
                  <a:pt x="147" y="266"/>
                  <a:pt x="146" y="266"/>
                  <a:pt x="146" y="265"/>
                </a:cubicBezTo>
                <a:cubicBezTo>
                  <a:pt x="145" y="265"/>
                  <a:pt x="145" y="264"/>
                  <a:pt x="144" y="264"/>
                </a:cubicBezTo>
                <a:cubicBezTo>
                  <a:pt x="146" y="265"/>
                  <a:pt x="148" y="266"/>
                  <a:pt x="150" y="267"/>
                </a:cubicBezTo>
                <a:cubicBezTo>
                  <a:pt x="152" y="267"/>
                  <a:pt x="152" y="268"/>
                  <a:pt x="154" y="268"/>
                </a:cubicBezTo>
                <a:cubicBezTo>
                  <a:pt x="155" y="269"/>
                  <a:pt x="157" y="269"/>
                  <a:pt x="158" y="270"/>
                </a:cubicBezTo>
                <a:cubicBezTo>
                  <a:pt x="158" y="269"/>
                  <a:pt x="158" y="269"/>
                  <a:pt x="159" y="269"/>
                </a:cubicBezTo>
                <a:cubicBezTo>
                  <a:pt x="162" y="270"/>
                  <a:pt x="164" y="272"/>
                  <a:pt x="168" y="273"/>
                </a:cubicBezTo>
                <a:cubicBezTo>
                  <a:pt x="170" y="274"/>
                  <a:pt x="172" y="275"/>
                  <a:pt x="173" y="276"/>
                </a:cubicBezTo>
                <a:cubicBezTo>
                  <a:pt x="173" y="276"/>
                  <a:pt x="172" y="276"/>
                  <a:pt x="173" y="277"/>
                </a:cubicBezTo>
                <a:cubicBezTo>
                  <a:pt x="175" y="277"/>
                  <a:pt x="175" y="277"/>
                  <a:pt x="176" y="277"/>
                </a:cubicBezTo>
                <a:cubicBezTo>
                  <a:pt x="177" y="277"/>
                  <a:pt x="178" y="278"/>
                  <a:pt x="180" y="279"/>
                </a:cubicBezTo>
                <a:cubicBezTo>
                  <a:pt x="180" y="279"/>
                  <a:pt x="180" y="279"/>
                  <a:pt x="180" y="279"/>
                </a:cubicBezTo>
                <a:cubicBezTo>
                  <a:pt x="186" y="283"/>
                  <a:pt x="196" y="287"/>
                  <a:pt x="204" y="291"/>
                </a:cubicBezTo>
                <a:cubicBezTo>
                  <a:pt x="208" y="293"/>
                  <a:pt x="212" y="296"/>
                  <a:pt x="216" y="298"/>
                </a:cubicBezTo>
                <a:cubicBezTo>
                  <a:pt x="218" y="299"/>
                  <a:pt x="221" y="301"/>
                  <a:pt x="224" y="302"/>
                </a:cubicBezTo>
                <a:cubicBezTo>
                  <a:pt x="225" y="303"/>
                  <a:pt x="225" y="304"/>
                  <a:pt x="228" y="304"/>
                </a:cubicBezTo>
                <a:cubicBezTo>
                  <a:pt x="233" y="305"/>
                  <a:pt x="230" y="303"/>
                  <a:pt x="230" y="303"/>
                </a:cubicBezTo>
                <a:cubicBezTo>
                  <a:pt x="231" y="303"/>
                  <a:pt x="232" y="304"/>
                  <a:pt x="234" y="304"/>
                </a:cubicBezTo>
                <a:cubicBezTo>
                  <a:pt x="232" y="303"/>
                  <a:pt x="229" y="301"/>
                  <a:pt x="226" y="299"/>
                </a:cubicBezTo>
                <a:cubicBezTo>
                  <a:pt x="227" y="299"/>
                  <a:pt x="228" y="299"/>
                  <a:pt x="226" y="298"/>
                </a:cubicBezTo>
                <a:cubicBezTo>
                  <a:pt x="223" y="297"/>
                  <a:pt x="221" y="296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17" y="294"/>
                  <a:pt x="217" y="294"/>
                </a:cubicBezTo>
                <a:cubicBezTo>
                  <a:pt x="217" y="294"/>
                  <a:pt x="220" y="294"/>
                  <a:pt x="215" y="293"/>
                </a:cubicBezTo>
                <a:cubicBezTo>
                  <a:pt x="214" y="292"/>
                  <a:pt x="212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4" y="291"/>
                  <a:pt x="214" y="291"/>
                  <a:pt x="214" y="291"/>
                </a:cubicBezTo>
                <a:cubicBezTo>
                  <a:pt x="219" y="293"/>
                  <a:pt x="223" y="296"/>
                  <a:pt x="230" y="298"/>
                </a:cubicBezTo>
                <a:cubicBezTo>
                  <a:pt x="231" y="299"/>
                  <a:pt x="232" y="299"/>
                  <a:pt x="233" y="300"/>
                </a:cubicBezTo>
                <a:cubicBezTo>
                  <a:pt x="236" y="300"/>
                  <a:pt x="232" y="299"/>
                  <a:pt x="232" y="299"/>
                </a:cubicBezTo>
                <a:cubicBezTo>
                  <a:pt x="233" y="299"/>
                  <a:pt x="234" y="298"/>
                  <a:pt x="235" y="298"/>
                </a:cubicBezTo>
                <a:cubicBezTo>
                  <a:pt x="239" y="300"/>
                  <a:pt x="241" y="301"/>
                  <a:pt x="244" y="303"/>
                </a:cubicBezTo>
                <a:cubicBezTo>
                  <a:pt x="246" y="304"/>
                  <a:pt x="248" y="305"/>
                  <a:pt x="250" y="305"/>
                </a:cubicBezTo>
                <a:cubicBezTo>
                  <a:pt x="253" y="306"/>
                  <a:pt x="247" y="304"/>
                  <a:pt x="246" y="303"/>
                </a:cubicBezTo>
                <a:cubicBezTo>
                  <a:pt x="246" y="303"/>
                  <a:pt x="246" y="303"/>
                  <a:pt x="246" y="302"/>
                </a:cubicBezTo>
                <a:cubicBezTo>
                  <a:pt x="246" y="302"/>
                  <a:pt x="246" y="302"/>
                  <a:pt x="246" y="302"/>
                </a:cubicBezTo>
                <a:cubicBezTo>
                  <a:pt x="247" y="302"/>
                  <a:pt x="247" y="302"/>
                  <a:pt x="248" y="302"/>
                </a:cubicBezTo>
                <a:cubicBezTo>
                  <a:pt x="245" y="301"/>
                  <a:pt x="240" y="299"/>
                  <a:pt x="238" y="298"/>
                </a:cubicBezTo>
                <a:cubicBezTo>
                  <a:pt x="237" y="297"/>
                  <a:pt x="237" y="297"/>
                  <a:pt x="236" y="296"/>
                </a:cubicBezTo>
                <a:cubicBezTo>
                  <a:pt x="236" y="296"/>
                  <a:pt x="237" y="296"/>
                  <a:pt x="238" y="296"/>
                </a:cubicBezTo>
                <a:cubicBezTo>
                  <a:pt x="238" y="296"/>
                  <a:pt x="238" y="296"/>
                  <a:pt x="237" y="295"/>
                </a:cubicBezTo>
                <a:cubicBezTo>
                  <a:pt x="231" y="292"/>
                  <a:pt x="231" y="292"/>
                  <a:pt x="237" y="292"/>
                </a:cubicBezTo>
                <a:cubicBezTo>
                  <a:pt x="239" y="292"/>
                  <a:pt x="239" y="293"/>
                  <a:pt x="242" y="293"/>
                </a:cubicBezTo>
                <a:cubicBezTo>
                  <a:pt x="244" y="293"/>
                  <a:pt x="241" y="292"/>
                  <a:pt x="240" y="292"/>
                </a:cubicBezTo>
                <a:cubicBezTo>
                  <a:pt x="239" y="291"/>
                  <a:pt x="239" y="290"/>
                  <a:pt x="241" y="291"/>
                </a:cubicBezTo>
                <a:cubicBezTo>
                  <a:pt x="247" y="293"/>
                  <a:pt x="253" y="294"/>
                  <a:pt x="258" y="297"/>
                </a:cubicBezTo>
                <a:cubicBezTo>
                  <a:pt x="258" y="297"/>
                  <a:pt x="259" y="297"/>
                  <a:pt x="258" y="297"/>
                </a:cubicBezTo>
                <a:cubicBezTo>
                  <a:pt x="258" y="297"/>
                  <a:pt x="256" y="296"/>
                  <a:pt x="255" y="297"/>
                </a:cubicBezTo>
                <a:cubicBezTo>
                  <a:pt x="260" y="300"/>
                  <a:pt x="270" y="302"/>
                  <a:pt x="275" y="305"/>
                </a:cubicBezTo>
                <a:cubicBezTo>
                  <a:pt x="277" y="307"/>
                  <a:pt x="280" y="308"/>
                  <a:pt x="284" y="310"/>
                </a:cubicBezTo>
                <a:cubicBezTo>
                  <a:pt x="285" y="311"/>
                  <a:pt x="286" y="311"/>
                  <a:pt x="288" y="311"/>
                </a:cubicBezTo>
                <a:cubicBezTo>
                  <a:pt x="290" y="311"/>
                  <a:pt x="289" y="310"/>
                  <a:pt x="287" y="310"/>
                </a:cubicBezTo>
                <a:cubicBezTo>
                  <a:pt x="283" y="308"/>
                  <a:pt x="287" y="309"/>
                  <a:pt x="287" y="308"/>
                </a:cubicBezTo>
                <a:cubicBezTo>
                  <a:pt x="288" y="308"/>
                  <a:pt x="289" y="308"/>
                  <a:pt x="289" y="309"/>
                </a:cubicBezTo>
                <a:cubicBezTo>
                  <a:pt x="287" y="308"/>
                  <a:pt x="287" y="306"/>
                  <a:pt x="282" y="306"/>
                </a:cubicBezTo>
                <a:cubicBezTo>
                  <a:pt x="281" y="306"/>
                  <a:pt x="283" y="307"/>
                  <a:pt x="283" y="307"/>
                </a:cubicBezTo>
                <a:cubicBezTo>
                  <a:pt x="280" y="307"/>
                  <a:pt x="280" y="306"/>
                  <a:pt x="278" y="305"/>
                </a:cubicBezTo>
                <a:cubicBezTo>
                  <a:pt x="273" y="303"/>
                  <a:pt x="273" y="302"/>
                  <a:pt x="268" y="300"/>
                </a:cubicBezTo>
                <a:cubicBezTo>
                  <a:pt x="266" y="299"/>
                  <a:pt x="264" y="298"/>
                  <a:pt x="262" y="297"/>
                </a:cubicBezTo>
                <a:cubicBezTo>
                  <a:pt x="262" y="296"/>
                  <a:pt x="263" y="296"/>
                  <a:pt x="262" y="295"/>
                </a:cubicBezTo>
                <a:cubicBezTo>
                  <a:pt x="260" y="294"/>
                  <a:pt x="258" y="293"/>
                  <a:pt x="256" y="292"/>
                </a:cubicBezTo>
                <a:cubicBezTo>
                  <a:pt x="256" y="292"/>
                  <a:pt x="255" y="292"/>
                  <a:pt x="255" y="292"/>
                </a:cubicBezTo>
                <a:cubicBezTo>
                  <a:pt x="257" y="293"/>
                  <a:pt x="259" y="294"/>
                  <a:pt x="261" y="295"/>
                </a:cubicBezTo>
                <a:cubicBezTo>
                  <a:pt x="256" y="294"/>
                  <a:pt x="255" y="293"/>
                  <a:pt x="252" y="292"/>
                </a:cubicBezTo>
                <a:cubicBezTo>
                  <a:pt x="251" y="290"/>
                  <a:pt x="245" y="288"/>
                  <a:pt x="242" y="287"/>
                </a:cubicBezTo>
                <a:cubicBezTo>
                  <a:pt x="242" y="286"/>
                  <a:pt x="241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40" y="286"/>
                  <a:pt x="240" y="286"/>
                  <a:pt x="240" y="286"/>
                </a:cubicBezTo>
                <a:cubicBezTo>
                  <a:pt x="236" y="285"/>
                  <a:pt x="234" y="283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9" y="281"/>
                  <a:pt x="229" y="281"/>
                  <a:pt x="229" y="281"/>
                </a:cubicBezTo>
                <a:cubicBezTo>
                  <a:pt x="228" y="280"/>
                  <a:pt x="226" y="279"/>
                  <a:pt x="224" y="279"/>
                </a:cubicBezTo>
                <a:cubicBezTo>
                  <a:pt x="223" y="277"/>
                  <a:pt x="220" y="276"/>
                  <a:pt x="217" y="275"/>
                </a:cubicBezTo>
                <a:cubicBezTo>
                  <a:pt x="215" y="274"/>
                  <a:pt x="214" y="273"/>
                  <a:pt x="212" y="273"/>
                </a:cubicBezTo>
                <a:cubicBezTo>
                  <a:pt x="212" y="272"/>
                  <a:pt x="212" y="272"/>
                  <a:pt x="212" y="272"/>
                </a:cubicBezTo>
                <a:cubicBezTo>
                  <a:pt x="210" y="271"/>
                  <a:pt x="207" y="270"/>
                  <a:pt x="208" y="269"/>
                </a:cubicBezTo>
                <a:cubicBezTo>
                  <a:pt x="214" y="271"/>
                  <a:pt x="218" y="274"/>
                  <a:pt x="225" y="276"/>
                </a:cubicBezTo>
                <a:cubicBezTo>
                  <a:pt x="236" y="282"/>
                  <a:pt x="246" y="287"/>
                  <a:pt x="257" y="292"/>
                </a:cubicBezTo>
                <a:cubicBezTo>
                  <a:pt x="258" y="292"/>
                  <a:pt x="260" y="293"/>
                  <a:pt x="261" y="293"/>
                </a:cubicBezTo>
                <a:cubicBezTo>
                  <a:pt x="262" y="294"/>
                  <a:pt x="262" y="294"/>
                  <a:pt x="263" y="294"/>
                </a:cubicBezTo>
                <a:cubicBezTo>
                  <a:pt x="269" y="297"/>
                  <a:pt x="274" y="300"/>
                  <a:pt x="280" y="302"/>
                </a:cubicBezTo>
                <a:cubicBezTo>
                  <a:pt x="286" y="305"/>
                  <a:pt x="293" y="308"/>
                  <a:pt x="297" y="311"/>
                </a:cubicBezTo>
                <a:cubicBezTo>
                  <a:pt x="298" y="312"/>
                  <a:pt x="301" y="313"/>
                  <a:pt x="303" y="315"/>
                </a:cubicBezTo>
                <a:cubicBezTo>
                  <a:pt x="302" y="314"/>
                  <a:pt x="301" y="314"/>
                  <a:pt x="300" y="314"/>
                </a:cubicBezTo>
                <a:cubicBezTo>
                  <a:pt x="301" y="315"/>
                  <a:pt x="302" y="315"/>
                  <a:pt x="304" y="316"/>
                </a:cubicBezTo>
                <a:cubicBezTo>
                  <a:pt x="305" y="316"/>
                  <a:pt x="304" y="315"/>
                  <a:pt x="304" y="315"/>
                </a:cubicBezTo>
                <a:cubicBezTo>
                  <a:pt x="305" y="315"/>
                  <a:pt x="306" y="316"/>
                  <a:pt x="309" y="316"/>
                </a:cubicBezTo>
                <a:cubicBezTo>
                  <a:pt x="304" y="314"/>
                  <a:pt x="303" y="313"/>
                  <a:pt x="299" y="311"/>
                </a:cubicBezTo>
                <a:cubicBezTo>
                  <a:pt x="297" y="310"/>
                  <a:pt x="296" y="309"/>
                  <a:pt x="294" y="308"/>
                </a:cubicBezTo>
                <a:cubicBezTo>
                  <a:pt x="290" y="306"/>
                  <a:pt x="284" y="303"/>
                  <a:pt x="280" y="300"/>
                </a:cubicBezTo>
                <a:cubicBezTo>
                  <a:pt x="281" y="300"/>
                  <a:pt x="280" y="300"/>
                  <a:pt x="280" y="299"/>
                </a:cubicBezTo>
                <a:cubicBezTo>
                  <a:pt x="279" y="299"/>
                  <a:pt x="279" y="298"/>
                  <a:pt x="280" y="298"/>
                </a:cubicBezTo>
                <a:cubicBezTo>
                  <a:pt x="282" y="298"/>
                  <a:pt x="284" y="299"/>
                  <a:pt x="285" y="300"/>
                </a:cubicBezTo>
                <a:cubicBezTo>
                  <a:pt x="288" y="301"/>
                  <a:pt x="292" y="302"/>
                  <a:pt x="296" y="303"/>
                </a:cubicBezTo>
                <a:cubicBezTo>
                  <a:pt x="300" y="305"/>
                  <a:pt x="302" y="304"/>
                  <a:pt x="304" y="304"/>
                </a:cubicBezTo>
                <a:cubicBezTo>
                  <a:pt x="304" y="304"/>
                  <a:pt x="306" y="304"/>
                  <a:pt x="307" y="304"/>
                </a:cubicBezTo>
                <a:cubicBezTo>
                  <a:pt x="308" y="305"/>
                  <a:pt x="308" y="305"/>
                  <a:pt x="306" y="305"/>
                </a:cubicBezTo>
                <a:cubicBezTo>
                  <a:pt x="303" y="305"/>
                  <a:pt x="304" y="306"/>
                  <a:pt x="302" y="306"/>
                </a:cubicBezTo>
                <a:cubicBezTo>
                  <a:pt x="306" y="307"/>
                  <a:pt x="310" y="308"/>
                  <a:pt x="314" y="310"/>
                </a:cubicBezTo>
                <a:cubicBezTo>
                  <a:pt x="313" y="309"/>
                  <a:pt x="312" y="308"/>
                  <a:pt x="312" y="307"/>
                </a:cubicBezTo>
                <a:cubicBezTo>
                  <a:pt x="314" y="308"/>
                  <a:pt x="319" y="309"/>
                  <a:pt x="318" y="307"/>
                </a:cubicBezTo>
                <a:cubicBezTo>
                  <a:pt x="317" y="305"/>
                  <a:pt x="317" y="305"/>
                  <a:pt x="321" y="305"/>
                </a:cubicBezTo>
                <a:cubicBezTo>
                  <a:pt x="317" y="304"/>
                  <a:pt x="314" y="302"/>
                  <a:pt x="310" y="302"/>
                </a:cubicBezTo>
                <a:cubicBezTo>
                  <a:pt x="310" y="302"/>
                  <a:pt x="309" y="302"/>
                  <a:pt x="309" y="302"/>
                </a:cubicBezTo>
                <a:cubicBezTo>
                  <a:pt x="309" y="301"/>
                  <a:pt x="309" y="301"/>
                  <a:pt x="310" y="301"/>
                </a:cubicBezTo>
                <a:cubicBezTo>
                  <a:pt x="312" y="301"/>
                  <a:pt x="310" y="300"/>
                  <a:pt x="309" y="300"/>
                </a:cubicBezTo>
                <a:cubicBezTo>
                  <a:pt x="308" y="300"/>
                  <a:pt x="308" y="300"/>
                  <a:pt x="308" y="299"/>
                </a:cubicBezTo>
                <a:cubicBezTo>
                  <a:pt x="308" y="299"/>
                  <a:pt x="308" y="299"/>
                  <a:pt x="306" y="298"/>
                </a:cubicBezTo>
                <a:cubicBezTo>
                  <a:pt x="304" y="297"/>
                  <a:pt x="304" y="297"/>
                  <a:pt x="306" y="297"/>
                </a:cubicBezTo>
                <a:cubicBezTo>
                  <a:pt x="307" y="297"/>
                  <a:pt x="304" y="296"/>
                  <a:pt x="305" y="295"/>
                </a:cubicBezTo>
                <a:cubicBezTo>
                  <a:pt x="306" y="296"/>
                  <a:pt x="307" y="297"/>
                  <a:pt x="308" y="297"/>
                </a:cubicBezTo>
                <a:cubicBezTo>
                  <a:pt x="310" y="299"/>
                  <a:pt x="314" y="300"/>
                  <a:pt x="317" y="302"/>
                </a:cubicBezTo>
                <a:cubicBezTo>
                  <a:pt x="318" y="303"/>
                  <a:pt x="320" y="304"/>
                  <a:pt x="322" y="305"/>
                </a:cubicBezTo>
                <a:cubicBezTo>
                  <a:pt x="323" y="305"/>
                  <a:pt x="324" y="306"/>
                  <a:pt x="325" y="306"/>
                </a:cubicBezTo>
                <a:cubicBezTo>
                  <a:pt x="326" y="306"/>
                  <a:pt x="327" y="307"/>
                  <a:pt x="327" y="307"/>
                </a:cubicBezTo>
                <a:cubicBezTo>
                  <a:pt x="327" y="307"/>
                  <a:pt x="328" y="308"/>
                  <a:pt x="329" y="308"/>
                </a:cubicBezTo>
                <a:cubicBezTo>
                  <a:pt x="330" y="308"/>
                  <a:pt x="331" y="309"/>
                  <a:pt x="332" y="309"/>
                </a:cubicBezTo>
                <a:cubicBezTo>
                  <a:pt x="332" y="308"/>
                  <a:pt x="331" y="308"/>
                  <a:pt x="330" y="308"/>
                </a:cubicBezTo>
                <a:cubicBezTo>
                  <a:pt x="329" y="307"/>
                  <a:pt x="328" y="306"/>
                  <a:pt x="326" y="306"/>
                </a:cubicBezTo>
                <a:cubicBezTo>
                  <a:pt x="321" y="303"/>
                  <a:pt x="317" y="300"/>
                  <a:pt x="309" y="297"/>
                </a:cubicBezTo>
                <a:cubicBezTo>
                  <a:pt x="305" y="294"/>
                  <a:pt x="298" y="291"/>
                  <a:pt x="292" y="288"/>
                </a:cubicBezTo>
                <a:cubicBezTo>
                  <a:pt x="289" y="287"/>
                  <a:pt x="287" y="285"/>
                  <a:pt x="284" y="284"/>
                </a:cubicBezTo>
                <a:cubicBezTo>
                  <a:pt x="283" y="283"/>
                  <a:pt x="279" y="281"/>
                  <a:pt x="276" y="280"/>
                </a:cubicBezTo>
                <a:cubicBezTo>
                  <a:pt x="280" y="281"/>
                  <a:pt x="284" y="280"/>
                  <a:pt x="289" y="282"/>
                </a:cubicBezTo>
                <a:cubicBezTo>
                  <a:pt x="294" y="284"/>
                  <a:pt x="299" y="286"/>
                  <a:pt x="303" y="288"/>
                </a:cubicBezTo>
                <a:cubicBezTo>
                  <a:pt x="309" y="291"/>
                  <a:pt x="314" y="295"/>
                  <a:pt x="322" y="298"/>
                </a:cubicBezTo>
                <a:cubicBezTo>
                  <a:pt x="325" y="299"/>
                  <a:pt x="330" y="300"/>
                  <a:pt x="334" y="302"/>
                </a:cubicBezTo>
                <a:cubicBezTo>
                  <a:pt x="335" y="300"/>
                  <a:pt x="331" y="299"/>
                  <a:pt x="328" y="298"/>
                </a:cubicBezTo>
                <a:cubicBezTo>
                  <a:pt x="326" y="297"/>
                  <a:pt x="323" y="297"/>
                  <a:pt x="323" y="296"/>
                </a:cubicBezTo>
                <a:cubicBezTo>
                  <a:pt x="323" y="295"/>
                  <a:pt x="325" y="296"/>
                  <a:pt x="327" y="296"/>
                </a:cubicBezTo>
                <a:cubicBezTo>
                  <a:pt x="328" y="296"/>
                  <a:pt x="330" y="296"/>
                  <a:pt x="331" y="296"/>
                </a:cubicBezTo>
                <a:cubicBezTo>
                  <a:pt x="331" y="297"/>
                  <a:pt x="332" y="297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3" y="298"/>
                  <a:pt x="333" y="298"/>
                  <a:pt x="333" y="298"/>
                </a:cubicBezTo>
                <a:cubicBezTo>
                  <a:pt x="332" y="298"/>
                  <a:pt x="330" y="297"/>
                  <a:pt x="330" y="297"/>
                </a:cubicBezTo>
                <a:cubicBezTo>
                  <a:pt x="330" y="298"/>
                  <a:pt x="331" y="299"/>
                  <a:pt x="334" y="299"/>
                </a:cubicBezTo>
                <a:cubicBezTo>
                  <a:pt x="334" y="299"/>
                  <a:pt x="335" y="300"/>
                  <a:pt x="335" y="300"/>
                </a:cubicBezTo>
                <a:cubicBezTo>
                  <a:pt x="337" y="301"/>
                  <a:pt x="339" y="302"/>
                  <a:pt x="341" y="303"/>
                </a:cubicBezTo>
                <a:cubicBezTo>
                  <a:pt x="341" y="303"/>
                  <a:pt x="342" y="303"/>
                  <a:pt x="342" y="303"/>
                </a:cubicBezTo>
                <a:cubicBezTo>
                  <a:pt x="340" y="302"/>
                  <a:pt x="338" y="301"/>
                  <a:pt x="336" y="300"/>
                </a:cubicBezTo>
                <a:cubicBezTo>
                  <a:pt x="335" y="299"/>
                  <a:pt x="335" y="299"/>
                  <a:pt x="337" y="298"/>
                </a:cubicBezTo>
                <a:cubicBezTo>
                  <a:pt x="339" y="299"/>
                  <a:pt x="340" y="299"/>
                  <a:pt x="341" y="299"/>
                </a:cubicBezTo>
                <a:cubicBezTo>
                  <a:pt x="342" y="300"/>
                  <a:pt x="344" y="301"/>
                  <a:pt x="347" y="301"/>
                </a:cubicBezTo>
                <a:cubicBezTo>
                  <a:pt x="346" y="300"/>
                  <a:pt x="345" y="299"/>
                  <a:pt x="344" y="299"/>
                </a:cubicBezTo>
                <a:cubicBezTo>
                  <a:pt x="343" y="297"/>
                  <a:pt x="339" y="295"/>
                  <a:pt x="335" y="294"/>
                </a:cubicBezTo>
                <a:cubicBezTo>
                  <a:pt x="334" y="293"/>
                  <a:pt x="333" y="293"/>
                  <a:pt x="331" y="292"/>
                </a:cubicBezTo>
                <a:cubicBezTo>
                  <a:pt x="331" y="292"/>
                  <a:pt x="331" y="292"/>
                  <a:pt x="330" y="291"/>
                </a:cubicBezTo>
                <a:cubicBezTo>
                  <a:pt x="330" y="291"/>
                  <a:pt x="329" y="290"/>
                  <a:pt x="327" y="290"/>
                </a:cubicBezTo>
                <a:cubicBezTo>
                  <a:pt x="326" y="289"/>
                  <a:pt x="325" y="289"/>
                  <a:pt x="325" y="289"/>
                </a:cubicBezTo>
                <a:cubicBezTo>
                  <a:pt x="327" y="288"/>
                  <a:pt x="323" y="287"/>
                  <a:pt x="324" y="287"/>
                </a:cubicBezTo>
                <a:cubicBezTo>
                  <a:pt x="325" y="287"/>
                  <a:pt x="329" y="288"/>
                  <a:pt x="329" y="287"/>
                </a:cubicBezTo>
                <a:cubicBezTo>
                  <a:pt x="330" y="287"/>
                  <a:pt x="328" y="286"/>
                  <a:pt x="326" y="285"/>
                </a:cubicBezTo>
                <a:cubicBezTo>
                  <a:pt x="324" y="284"/>
                  <a:pt x="323" y="284"/>
                  <a:pt x="322" y="283"/>
                </a:cubicBezTo>
                <a:cubicBezTo>
                  <a:pt x="320" y="281"/>
                  <a:pt x="318" y="280"/>
                  <a:pt x="311" y="278"/>
                </a:cubicBezTo>
                <a:cubicBezTo>
                  <a:pt x="310" y="277"/>
                  <a:pt x="304" y="275"/>
                  <a:pt x="301" y="273"/>
                </a:cubicBezTo>
                <a:cubicBezTo>
                  <a:pt x="296" y="271"/>
                  <a:pt x="290" y="268"/>
                  <a:pt x="284" y="265"/>
                </a:cubicBezTo>
                <a:cubicBezTo>
                  <a:pt x="283" y="264"/>
                  <a:pt x="281" y="263"/>
                  <a:pt x="276" y="262"/>
                </a:cubicBezTo>
                <a:cubicBezTo>
                  <a:pt x="278" y="263"/>
                  <a:pt x="281" y="264"/>
                  <a:pt x="283" y="265"/>
                </a:cubicBezTo>
                <a:cubicBezTo>
                  <a:pt x="285" y="266"/>
                  <a:pt x="286" y="267"/>
                  <a:pt x="288" y="268"/>
                </a:cubicBezTo>
                <a:cubicBezTo>
                  <a:pt x="282" y="266"/>
                  <a:pt x="281" y="264"/>
                  <a:pt x="277" y="263"/>
                </a:cubicBezTo>
                <a:cubicBezTo>
                  <a:pt x="275" y="262"/>
                  <a:pt x="273" y="262"/>
                  <a:pt x="272" y="261"/>
                </a:cubicBezTo>
                <a:cubicBezTo>
                  <a:pt x="272" y="261"/>
                  <a:pt x="272" y="261"/>
                  <a:pt x="272" y="261"/>
                </a:cubicBezTo>
                <a:cubicBezTo>
                  <a:pt x="272" y="261"/>
                  <a:pt x="272" y="260"/>
                  <a:pt x="270" y="259"/>
                </a:cubicBezTo>
                <a:cubicBezTo>
                  <a:pt x="268" y="259"/>
                  <a:pt x="268" y="259"/>
                  <a:pt x="268" y="260"/>
                </a:cubicBezTo>
                <a:cubicBezTo>
                  <a:pt x="265" y="258"/>
                  <a:pt x="262" y="257"/>
                  <a:pt x="260" y="256"/>
                </a:cubicBezTo>
                <a:cubicBezTo>
                  <a:pt x="260" y="256"/>
                  <a:pt x="261" y="256"/>
                  <a:pt x="262" y="256"/>
                </a:cubicBezTo>
                <a:cubicBezTo>
                  <a:pt x="263" y="256"/>
                  <a:pt x="264" y="257"/>
                  <a:pt x="265" y="257"/>
                </a:cubicBezTo>
                <a:cubicBezTo>
                  <a:pt x="269" y="258"/>
                  <a:pt x="272" y="259"/>
                  <a:pt x="273" y="260"/>
                </a:cubicBezTo>
                <a:cubicBezTo>
                  <a:pt x="274" y="260"/>
                  <a:pt x="275" y="261"/>
                  <a:pt x="276" y="261"/>
                </a:cubicBezTo>
                <a:cubicBezTo>
                  <a:pt x="277" y="261"/>
                  <a:pt x="276" y="260"/>
                  <a:pt x="275" y="260"/>
                </a:cubicBezTo>
                <a:cubicBezTo>
                  <a:pt x="276" y="260"/>
                  <a:pt x="277" y="260"/>
                  <a:pt x="277" y="260"/>
                </a:cubicBezTo>
                <a:cubicBezTo>
                  <a:pt x="278" y="260"/>
                  <a:pt x="279" y="261"/>
                  <a:pt x="280" y="261"/>
                </a:cubicBezTo>
                <a:cubicBezTo>
                  <a:pt x="285" y="263"/>
                  <a:pt x="289" y="266"/>
                  <a:pt x="294" y="268"/>
                </a:cubicBezTo>
                <a:cubicBezTo>
                  <a:pt x="294" y="268"/>
                  <a:pt x="294" y="268"/>
                  <a:pt x="294" y="267"/>
                </a:cubicBezTo>
                <a:cubicBezTo>
                  <a:pt x="294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3" y="267"/>
                  <a:pt x="293" y="267"/>
                  <a:pt x="293" y="267"/>
                </a:cubicBezTo>
                <a:cubicBezTo>
                  <a:pt x="296" y="267"/>
                  <a:pt x="299" y="268"/>
                  <a:pt x="300" y="270"/>
                </a:cubicBezTo>
                <a:cubicBezTo>
                  <a:pt x="301" y="270"/>
                  <a:pt x="303" y="271"/>
                  <a:pt x="306" y="272"/>
                </a:cubicBezTo>
                <a:cubicBezTo>
                  <a:pt x="307" y="272"/>
                  <a:pt x="308" y="272"/>
                  <a:pt x="308" y="272"/>
                </a:cubicBezTo>
                <a:cubicBezTo>
                  <a:pt x="310" y="271"/>
                  <a:pt x="307" y="270"/>
                  <a:pt x="305" y="270"/>
                </a:cubicBezTo>
                <a:cubicBezTo>
                  <a:pt x="298" y="266"/>
                  <a:pt x="289" y="262"/>
                  <a:pt x="282" y="259"/>
                </a:cubicBezTo>
                <a:cubicBezTo>
                  <a:pt x="282" y="259"/>
                  <a:pt x="282" y="259"/>
                  <a:pt x="282" y="259"/>
                </a:cubicBezTo>
                <a:cubicBezTo>
                  <a:pt x="279" y="257"/>
                  <a:pt x="272" y="255"/>
                  <a:pt x="271" y="253"/>
                </a:cubicBezTo>
                <a:cubicBezTo>
                  <a:pt x="281" y="257"/>
                  <a:pt x="290" y="262"/>
                  <a:pt x="299" y="266"/>
                </a:cubicBezTo>
                <a:cubicBezTo>
                  <a:pt x="308" y="270"/>
                  <a:pt x="318" y="275"/>
                  <a:pt x="330" y="280"/>
                </a:cubicBezTo>
                <a:cubicBezTo>
                  <a:pt x="332" y="281"/>
                  <a:pt x="334" y="281"/>
                  <a:pt x="336" y="282"/>
                </a:cubicBezTo>
                <a:cubicBezTo>
                  <a:pt x="340" y="285"/>
                  <a:pt x="347" y="288"/>
                  <a:pt x="352" y="291"/>
                </a:cubicBezTo>
                <a:cubicBezTo>
                  <a:pt x="353" y="291"/>
                  <a:pt x="349" y="290"/>
                  <a:pt x="349" y="289"/>
                </a:cubicBezTo>
                <a:cubicBezTo>
                  <a:pt x="355" y="290"/>
                  <a:pt x="358" y="292"/>
                  <a:pt x="361" y="294"/>
                </a:cubicBezTo>
                <a:cubicBezTo>
                  <a:pt x="363" y="295"/>
                  <a:pt x="365" y="297"/>
                  <a:pt x="371" y="298"/>
                </a:cubicBezTo>
                <a:cubicBezTo>
                  <a:pt x="376" y="299"/>
                  <a:pt x="377" y="300"/>
                  <a:pt x="380" y="302"/>
                </a:cubicBezTo>
                <a:cubicBezTo>
                  <a:pt x="380" y="302"/>
                  <a:pt x="380" y="302"/>
                  <a:pt x="380" y="302"/>
                </a:cubicBezTo>
                <a:cubicBezTo>
                  <a:pt x="385" y="304"/>
                  <a:pt x="389" y="306"/>
                  <a:pt x="393" y="308"/>
                </a:cubicBezTo>
                <a:cubicBezTo>
                  <a:pt x="390" y="307"/>
                  <a:pt x="389" y="306"/>
                  <a:pt x="387" y="306"/>
                </a:cubicBezTo>
                <a:cubicBezTo>
                  <a:pt x="386" y="305"/>
                  <a:pt x="385" y="304"/>
                  <a:pt x="381" y="303"/>
                </a:cubicBezTo>
                <a:cubicBezTo>
                  <a:pt x="382" y="304"/>
                  <a:pt x="383" y="305"/>
                  <a:pt x="386" y="306"/>
                </a:cubicBezTo>
                <a:cubicBezTo>
                  <a:pt x="389" y="307"/>
                  <a:pt x="391" y="308"/>
                  <a:pt x="394" y="310"/>
                </a:cubicBezTo>
                <a:cubicBezTo>
                  <a:pt x="396" y="311"/>
                  <a:pt x="398" y="311"/>
                  <a:pt x="399" y="312"/>
                </a:cubicBezTo>
                <a:cubicBezTo>
                  <a:pt x="399" y="312"/>
                  <a:pt x="400" y="312"/>
                  <a:pt x="400" y="312"/>
                </a:cubicBezTo>
                <a:cubicBezTo>
                  <a:pt x="398" y="311"/>
                  <a:pt x="397" y="311"/>
                  <a:pt x="396" y="310"/>
                </a:cubicBezTo>
                <a:cubicBezTo>
                  <a:pt x="396" y="310"/>
                  <a:pt x="397" y="310"/>
                  <a:pt x="397" y="310"/>
                </a:cubicBezTo>
                <a:cubicBezTo>
                  <a:pt x="402" y="313"/>
                  <a:pt x="410" y="316"/>
                  <a:pt x="413" y="319"/>
                </a:cubicBezTo>
                <a:cubicBezTo>
                  <a:pt x="416" y="320"/>
                  <a:pt x="418" y="321"/>
                  <a:pt x="421" y="322"/>
                </a:cubicBezTo>
                <a:cubicBezTo>
                  <a:pt x="421" y="323"/>
                  <a:pt x="422" y="324"/>
                  <a:pt x="426" y="325"/>
                </a:cubicBezTo>
                <a:cubicBezTo>
                  <a:pt x="429" y="328"/>
                  <a:pt x="436" y="329"/>
                  <a:pt x="442" y="331"/>
                </a:cubicBezTo>
                <a:cubicBezTo>
                  <a:pt x="442" y="331"/>
                  <a:pt x="442" y="331"/>
                  <a:pt x="443" y="331"/>
                </a:cubicBezTo>
                <a:cubicBezTo>
                  <a:pt x="444" y="332"/>
                  <a:pt x="446" y="333"/>
                  <a:pt x="448" y="334"/>
                </a:cubicBezTo>
                <a:cubicBezTo>
                  <a:pt x="450" y="335"/>
                  <a:pt x="448" y="335"/>
                  <a:pt x="446" y="334"/>
                </a:cubicBezTo>
                <a:cubicBezTo>
                  <a:pt x="445" y="334"/>
                  <a:pt x="444" y="333"/>
                  <a:pt x="441" y="333"/>
                </a:cubicBezTo>
                <a:cubicBezTo>
                  <a:pt x="442" y="333"/>
                  <a:pt x="444" y="334"/>
                  <a:pt x="445" y="334"/>
                </a:cubicBezTo>
                <a:cubicBezTo>
                  <a:pt x="446" y="335"/>
                  <a:pt x="447" y="335"/>
                  <a:pt x="448" y="336"/>
                </a:cubicBezTo>
                <a:cubicBezTo>
                  <a:pt x="452" y="338"/>
                  <a:pt x="459" y="341"/>
                  <a:pt x="465" y="344"/>
                </a:cubicBezTo>
                <a:cubicBezTo>
                  <a:pt x="467" y="345"/>
                  <a:pt x="468" y="347"/>
                  <a:pt x="473" y="348"/>
                </a:cubicBezTo>
                <a:cubicBezTo>
                  <a:pt x="472" y="347"/>
                  <a:pt x="469" y="345"/>
                  <a:pt x="466" y="344"/>
                </a:cubicBezTo>
                <a:cubicBezTo>
                  <a:pt x="463" y="342"/>
                  <a:pt x="459" y="340"/>
                  <a:pt x="455" y="339"/>
                </a:cubicBezTo>
                <a:cubicBezTo>
                  <a:pt x="457" y="338"/>
                  <a:pt x="452" y="335"/>
                  <a:pt x="450" y="334"/>
                </a:cubicBezTo>
                <a:cubicBezTo>
                  <a:pt x="449" y="333"/>
                  <a:pt x="446" y="331"/>
                  <a:pt x="444" y="330"/>
                </a:cubicBezTo>
                <a:cubicBezTo>
                  <a:pt x="444" y="329"/>
                  <a:pt x="441" y="329"/>
                  <a:pt x="439" y="328"/>
                </a:cubicBezTo>
                <a:cubicBezTo>
                  <a:pt x="435" y="326"/>
                  <a:pt x="429" y="324"/>
                  <a:pt x="432" y="323"/>
                </a:cubicBezTo>
                <a:cubicBezTo>
                  <a:pt x="433" y="323"/>
                  <a:pt x="431" y="321"/>
                  <a:pt x="427" y="321"/>
                </a:cubicBezTo>
                <a:cubicBezTo>
                  <a:pt x="425" y="320"/>
                  <a:pt x="423" y="319"/>
                  <a:pt x="421" y="318"/>
                </a:cubicBezTo>
                <a:cubicBezTo>
                  <a:pt x="420" y="317"/>
                  <a:pt x="418" y="317"/>
                  <a:pt x="417" y="316"/>
                </a:cubicBezTo>
                <a:cubicBezTo>
                  <a:pt x="417" y="315"/>
                  <a:pt x="416" y="315"/>
                  <a:pt x="414" y="314"/>
                </a:cubicBezTo>
                <a:cubicBezTo>
                  <a:pt x="413" y="314"/>
                  <a:pt x="414" y="315"/>
                  <a:pt x="415" y="316"/>
                </a:cubicBezTo>
                <a:cubicBezTo>
                  <a:pt x="416" y="317"/>
                  <a:pt x="417" y="317"/>
                  <a:pt x="419" y="318"/>
                </a:cubicBezTo>
                <a:cubicBezTo>
                  <a:pt x="421" y="319"/>
                  <a:pt x="421" y="320"/>
                  <a:pt x="419" y="320"/>
                </a:cubicBezTo>
                <a:cubicBezTo>
                  <a:pt x="417" y="320"/>
                  <a:pt x="417" y="319"/>
                  <a:pt x="416" y="319"/>
                </a:cubicBezTo>
                <a:cubicBezTo>
                  <a:pt x="408" y="314"/>
                  <a:pt x="399" y="310"/>
                  <a:pt x="391" y="306"/>
                </a:cubicBezTo>
                <a:cubicBezTo>
                  <a:pt x="393" y="306"/>
                  <a:pt x="396" y="307"/>
                  <a:pt x="397" y="308"/>
                </a:cubicBezTo>
                <a:cubicBezTo>
                  <a:pt x="402" y="311"/>
                  <a:pt x="407" y="311"/>
                  <a:pt x="413" y="311"/>
                </a:cubicBezTo>
                <a:cubicBezTo>
                  <a:pt x="413" y="312"/>
                  <a:pt x="412" y="312"/>
                  <a:pt x="413" y="312"/>
                </a:cubicBezTo>
                <a:cubicBezTo>
                  <a:pt x="413" y="313"/>
                  <a:pt x="414" y="313"/>
                  <a:pt x="415" y="313"/>
                </a:cubicBezTo>
                <a:cubicBezTo>
                  <a:pt x="415" y="312"/>
                  <a:pt x="416" y="312"/>
                  <a:pt x="414" y="311"/>
                </a:cubicBezTo>
                <a:cubicBezTo>
                  <a:pt x="413" y="311"/>
                  <a:pt x="420" y="312"/>
                  <a:pt x="416" y="310"/>
                </a:cubicBezTo>
                <a:cubicBezTo>
                  <a:pt x="414" y="309"/>
                  <a:pt x="410" y="309"/>
                  <a:pt x="410" y="309"/>
                </a:cubicBezTo>
                <a:cubicBezTo>
                  <a:pt x="406" y="311"/>
                  <a:pt x="403" y="308"/>
                  <a:pt x="399" y="307"/>
                </a:cubicBezTo>
                <a:cubicBezTo>
                  <a:pt x="398" y="306"/>
                  <a:pt x="396" y="305"/>
                  <a:pt x="395" y="305"/>
                </a:cubicBezTo>
                <a:cubicBezTo>
                  <a:pt x="391" y="302"/>
                  <a:pt x="388" y="303"/>
                  <a:pt x="385" y="303"/>
                </a:cubicBezTo>
                <a:cubicBezTo>
                  <a:pt x="385" y="303"/>
                  <a:pt x="385" y="303"/>
                  <a:pt x="385" y="303"/>
                </a:cubicBezTo>
                <a:cubicBezTo>
                  <a:pt x="384" y="302"/>
                  <a:pt x="384" y="302"/>
                  <a:pt x="384" y="302"/>
                </a:cubicBezTo>
                <a:cubicBezTo>
                  <a:pt x="382" y="301"/>
                  <a:pt x="385" y="301"/>
                  <a:pt x="384" y="299"/>
                </a:cubicBezTo>
                <a:cubicBezTo>
                  <a:pt x="380" y="296"/>
                  <a:pt x="373" y="294"/>
                  <a:pt x="369" y="291"/>
                </a:cubicBezTo>
                <a:cubicBezTo>
                  <a:pt x="367" y="291"/>
                  <a:pt x="366" y="290"/>
                  <a:pt x="365" y="289"/>
                </a:cubicBezTo>
                <a:cubicBezTo>
                  <a:pt x="359" y="288"/>
                  <a:pt x="358" y="286"/>
                  <a:pt x="354" y="284"/>
                </a:cubicBezTo>
                <a:cubicBezTo>
                  <a:pt x="348" y="282"/>
                  <a:pt x="346" y="279"/>
                  <a:pt x="341" y="277"/>
                </a:cubicBezTo>
                <a:cubicBezTo>
                  <a:pt x="338" y="276"/>
                  <a:pt x="335" y="274"/>
                  <a:pt x="333" y="273"/>
                </a:cubicBezTo>
                <a:cubicBezTo>
                  <a:pt x="327" y="270"/>
                  <a:pt x="320" y="267"/>
                  <a:pt x="314" y="264"/>
                </a:cubicBezTo>
                <a:cubicBezTo>
                  <a:pt x="313" y="263"/>
                  <a:pt x="311" y="263"/>
                  <a:pt x="310" y="262"/>
                </a:cubicBezTo>
                <a:cubicBezTo>
                  <a:pt x="311" y="262"/>
                  <a:pt x="312" y="262"/>
                  <a:pt x="313" y="262"/>
                </a:cubicBezTo>
                <a:cubicBezTo>
                  <a:pt x="318" y="265"/>
                  <a:pt x="323" y="267"/>
                  <a:pt x="329" y="269"/>
                </a:cubicBezTo>
                <a:cubicBezTo>
                  <a:pt x="328" y="269"/>
                  <a:pt x="328" y="269"/>
                  <a:pt x="328" y="268"/>
                </a:cubicBezTo>
                <a:cubicBezTo>
                  <a:pt x="328" y="269"/>
                  <a:pt x="329" y="269"/>
                  <a:pt x="329" y="269"/>
                </a:cubicBezTo>
                <a:cubicBezTo>
                  <a:pt x="335" y="272"/>
                  <a:pt x="342" y="275"/>
                  <a:pt x="348" y="279"/>
                </a:cubicBezTo>
                <a:cubicBezTo>
                  <a:pt x="354" y="281"/>
                  <a:pt x="361" y="284"/>
                  <a:pt x="367" y="287"/>
                </a:cubicBezTo>
                <a:cubicBezTo>
                  <a:pt x="377" y="291"/>
                  <a:pt x="387" y="296"/>
                  <a:pt x="396" y="300"/>
                </a:cubicBezTo>
                <a:cubicBezTo>
                  <a:pt x="398" y="301"/>
                  <a:pt x="401" y="303"/>
                  <a:pt x="404" y="304"/>
                </a:cubicBezTo>
                <a:cubicBezTo>
                  <a:pt x="409" y="307"/>
                  <a:pt x="418" y="310"/>
                  <a:pt x="424" y="314"/>
                </a:cubicBezTo>
                <a:cubicBezTo>
                  <a:pt x="425" y="315"/>
                  <a:pt x="429" y="316"/>
                  <a:pt x="432" y="318"/>
                </a:cubicBezTo>
                <a:cubicBezTo>
                  <a:pt x="433" y="317"/>
                  <a:pt x="428" y="315"/>
                  <a:pt x="426" y="314"/>
                </a:cubicBezTo>
                <a:cubicBezTo>
                  <a:pt x="426" y="314"/>
                  <a:pt x="426" y="314"/>
                  <a:pt x="426" y="314"/>
                </a:cubicBezTo>
                <a:cubicBezTo>
                  <a:pt x="428" y="313"/>
                  <a:pt x="429" y="313"/>
                  <a:pt x="436" y="315"/>
                </a:cubicBezTo>
                <a:cubicBezTo>
                  <a:pt x="434" y="314"/>
                  <a:pt x="434" y="312"/>
                  <a:pt x="430" y="311"/>
                </a:cubicBezTo>
                <a:cubicBezTo>
                  <a:pt x="428" y="311"/>
                  <a:pt x="431" y="313"/>
                  <a:pt x="426" y="311"/>
                </a:cubicBezTo>
                <a:cubicBezTo>
                  <a:pt x="422" y="310"/>
                  <a:pt x="423" y="309"/>
                  <a:pt x="420" y="308"/>
                </a:cubicBezTo>
                <a:cubicBezTo>
                  <a:pt x="420" y="307"/>
                  <a:pt x="425" y="307"/>
                  <a:pt x="425" y="307"/>
                </a:cubicBezTo>
                <a:cubicBezTo>
                  <a:pt x="434" y="309"/>
                  <a:pt x="425" y="307"/>
                  <a:pt x="426" y="306"/>
                </a:cubicBezTo>
                <a:cubicBezTo>
                  <a:pt x="425" y="306"/>
                  <a:pt x="426" y="306"/>
                  <a:pt x="427" y="306"/>
                </a:cubicBezTo>
                <a:cubicBezTo>
                  <a:pt x="427" y="306"/>
                  <a:pt x="428" y="306"/>
                  <a:pt x="429" y="306"/>
                </a:cubicBezTo>
                <a:cubicBezTo>
                  <a:pt x="430" y="306"/>
                  <a:pt x="432" y="307"/>
                  <a:pt x="434" y="308"/>
                </a:cubicBezTo>
                <a:cubicBezTo>
                  <a:pt x="436" y="309"/>
                  <a:pt x="438" y="310"/>
                  <a:pt x="440" y="311"/>
                </a:cubicBezTo>
                <a:cubicBezTo>
                  <a:pt x="444" y="314"/>
                  <a:pt x="452" y="317"/>
                  <a:pt x="460" y="320"/>
                </a:cubicBezTo>
                <a:cubicBezTo>
                  <a:pt x="453" y="317"/>
                  <a:pt x="449" y="314"/>
                  <a:pt x="441" y="311"/>
                </a:cubicBezTo>
                <a:cubicBezTo>
                  <a:pt x="439" y="310"/>
                  <a:pt x="437" y="309"/>
                  <a:pt x="434" y="308"/>
                </a:cubicBezTo>
                <a:cubicBezTo>
                  <a:pt x="433" y="307"/>
                  <a:pt x="431" y="306"/>
                  <a:pt x="429" y="305"/>
                </a:cubicBezTo>
                <a:cubicBezTo>
                  <a:pt x="431" y="305"/>
                  <a:pt x="429" y="304"/>
                  <a:pt x="430" y="303"/>
                </a:cubicBezTo>
                <a:cubicBezTo>
                  <a:pt x="434" y="303"/>
                  <a:pt x="436" y="305"/>
                  <a:pt x="438" y="306"/>
                </a:cubicBezTo>
                <a:cubicBezTo>
                  <a:pt x="449" y="312"/>
                  <a:pt x="460" y="317"/>
                  <a:pt x="471" y="323"/>
                </a:cubicBezTo>
                <a:cubicBezTo>
                  <a:pt x="472" y="324"/>
                  <a:pt x="473" y="325"/>
                  <a:pt x="475" y="325"/>
                </a:cubicBezTo>
                <a:cubicBezTo>
                  <a:pt x="476" y="326"/>
                  <a:pt x="479" y="328"/>
                  <a:pt x="482" y="329"/>
                </a:cubicBezTo>
                <a:cubicBezTo>
                  <a:pt x="482" y="329"/>
                  <a:pt x="482" y="329"/>
                  <a:pt x="482" y="329"/>
                </a:cubicBezTo>
                <a:cubicBezTo>
                  <a:pt x="482" y="329"/>
                  <a:pt x="483" y="329"/>
                  <a:pt x="483" y="330"/>
                </a:cubicBezTo>
                <a:cubicBezTo>
                  <a:pt x="485" y="331"/>
                  <a:pt x="487" y="332"/>
                  <a:pt x="490" y="334"/>
                </a:cubicBezTo>
                <a:cubicBezTo>
                  <a:pt x="491" y="335"/>
                  <a:pt x="491" y="336"/>
                  <a:pt x="498" y="339"/>
                </a:cubicBezTo>
                <a:cubicBezTo>
                  <a:pt x="505" y="341"/>
                  <a:pt x="509" y="344"/>
                  <a:pt x="507" y="346"/>
                </a:cubicBezTo>
                <a:cubicBezTo>
                  <a:pt x="507" y="346"/>
                  <a:pt x="505" y="346"/>
                  <a:pt x="506" y="347"/>
                </a:cubicBezTo>
                <a:cubicBezTo>
                  <a:pt x="509" y="348"/>
                  <a:pt x="512" y="348"/>
                  <a:pt x="515" y="349"/>
                </a:cubicBezTo>
                <a:cubicBezTo>
                  <a:pt x="517" y="349"/>
                  <a:pt x="518" y="350"/>
                  <a:pt x="519" y="351"/>
                </a:cubicBezTo>
                <a:cubicBezTo>
                  <a:pt x="519" y="351"/>
                  <a:pt x="520" y="351"/>
                  <a:pt x="520" y="351"/>
                </a:cubicBezTo>
                <a:cubicBezTo>
                  <a:pt x="523" y="353"/>
                  <a:pt x="525" y="354"/>
                  <a:pt x="528" y="356"/>
                </a:cubicBezTo>
                <a:cubicBezTo>
                  <a:pt x="529" y="357"/>
                  <a:pt x="530" y="357"/>
                  <a:pt x="533" y="358"/>
                </a:cubicBezTo>
                <a:cubicBezTo>
                  <a:pt x="533" y="357"/>
                  <a:pt x="531" y="357"/>
                  <a:pt x="529" y="356"/>
                </a:cubicBezTo>
                <a:cubicBezTo>
                  <a:pt x="529" y="356"/>
                  <a:pt x="529" y="355"/>
                  <a:pt x="529" y="355"/>
                </a:cubicBezTo>
                <a:cubicBezTo>
                  <a:pt x="529" y="355"/>
                  <a:pt x="530" y="355"/>
                  <a:pt x="530" y="355"/>
                </a:cubicBezTo>
                <a:cubicBezTo>
                  <a:pt x="531" y="355"/>
                  <a:pt x="531" y="355"/>
                  <a:pt x="531" y="356"/>
                </a:cubicBezTo>
                <a:cubicBezTo>
                  <a:pt x="533" y="357"/>
                  <a:pt x="533" y="357"/>
                  <a:pt x="537" y="359"/>
                </a:cubicBezTo>
                <a:cubicBezTo>
                  <a:pt x="537" y="358"/>
                  <a:pt x="535" y="357"/>
                  <a:pt x="532" y="356"/>
                </a:cubicBezTo>
                <a:cubicBezTo>
                  <a:pt x="531" y="355"/>
                  <a:pt x="530" y="354"/>
                  <a:pt x="528" y="354"/>
                </a:cubicBezTo>
                <a:cubicBezTo>
                  <a:pt x="529" y="353"/>
                  <a:pt x="526" y="352"/>
                  <a:pt x="525" y="351"/>
                </a:cubicBezTo>
                <a:cubicBezTo>
                  <a:pt x="525" y="351"/>
                  <a:pt x="525" y="351"/>
                  <a:pt x="524" y="350"/>
                </a:cubicBezTo>
                <a:cubicBezTo>
                  <a:pt x="521" y="349"/>
                  <a:pt x="520" y="348"/>
                  <a:pt x="517" y="347"/>
                </a:cubicBezTo>
                <a:cubicBezTo>
                  <a:pt x="517" y="346"/>
                  <a:pt x="514" y="345"/>
                  <a:pt x="512" y="344"/>
                </a:cubicBezTo>
                <a:cubicBezTo>
                  <a:pt x="511" y="343"/>
                  <a:pt x="509" y="342"/>
                  <a:pt x="509" y="341"/>
                </a:cubicBezTo>
                <a:cubicBezTo>
                  <a:pt x="509" y="341"/>
                  <a:pt x="509" y="341"/>
                  <a:pt x="509" y="341"/>
                </a:cubicBezTo>
                <a:cubicBezTo>
                  <a:pt x="510" y="341"/>
                  <a:pt x="511" y="341"/>
                  <a:pt x="510" y="341"/>
                </a:cubicBezTo>
                <a:cubicBezTo>
                  <a:pt x="509" y="340"/>
                  <a:pt x="507" y="340"/>
                  <a:pt x="506" y="340"/>
                </a:cubicBezTo>
                <a:cubicBezTo>
                  <a:pt x="500" y="337"/>
                  <a:pt x="501" y="336"/>
                  <a:pt x="496" y="334"/>
                </a:cubicBezTo>
                <a:cubicBezTo>
                  <a:pt x="495" y="333"/>
                  <a:pt x="491" y="331"/>
                  <a:pt x="491" y="330"/>
                </a:cubicBezTo>
                <a:cubicBezTo>
                  <a:pt x="500" y="334"/>
                  <a:pt x="508" y="338"/>
                  <a:pt x="514" y="341"/>
                </a:cubicBezTo>
                <a:cubicBezTo>
                  <a:pt x="514" y="342"/>
                  <a:pt x="514" y="342"/>
                  <a:pt x="516" y="343"/>
                </a:cubicBezTo>
                <a:cubicBezTo>
                  <a:pt x="518" y="344"/>
                  <a:pt x="520" y="345"/>
                  <a:pt x="523" y="346"/>
                </a:cubicBezTo>
                <a:cubicBezTo>
                  <a:pt x="522" y="345"/>
                  <a:pt x="521" y="344"/>
                  <a:pt x="519" y="343"/>
                </a:cubicBezTo>
                <a:cubicBezTo>
                  <a:pt x="518" y="342"/>
                  <a:pt x="517" y="342"/>
                  <a:pt x="516" y="342"/>
                </a:cubicBezTo>
                <a:cubicBezTo>
                  <a:pt x="516" y="341"/>
                  <a:pt x="513" y="340"/>
                  <a:pt x="513" y="339"/>
                </a:cubicBezTo>
                <a:cubicBezTo>
                  <a:pt x="514" y="339"/>
                  <a:pt x="515" y="340"/>
                  <a:pt x="517" y="340"/>
                </a:cubicBezTo>
                <a:cubicBezTo>
                  <a:pt x="519" y="341"/>
                  <a:pt x="517" y="340"/>
                  <a:pt x="517" y="339"/>
                </a:cubicBezTo>
                <a:cubicBezTo>
                  <a:pt x="514" y="338"/>
                  <a:pt x="511" y="337"/>
                  <a:pt x="507" y="336"/>
                </a:cubicBezTo>
                <a:cubicBezTo>
                  <a:pt x="505" y="334"/>
                  <a:pt x="501" y="332"/>
                  <a:pt x="496" y="330"/>
                </a:cubicBezTo>
                <a:cubicBezTo>
                  <a:pt x="492" y="328"/>
                  <a:pt x="499" y="328"/>
                  <a:pt x="499" y="327"/>
                </a:cubicBezTo>
                <a:cubicBezTo>
                  <a:pt x="500" y="327"/>
                  <a:pt x="501" y="327"/>
                  <a:pt x="503" y="328"/>
                </a:cubicBezTo>
                <a:cubicBezTo>
                  <a:pt x="507" y="330"/>
                  <a:pt x="511" y="332"/>
                  <a:pt x="513" y="333"/>
                </a:cubicBezTo>
                <a:cubicBezTo>
                  <a:pt x="511" y="334"/>
                  <a:pt x="509" y="333"/>
                  <a:pt x="507" y="332"/>
                </a:cubicBezTo>
                <a:cubicBezTo>
                  <a:pt x="509" y="333"/>
                  <a:pt x="510" y="335"/>
                  <a:pt x="514" y="335"/>
                </a:cubicBezTo>
                <a:cubicBezTo>
                  <a:pt x="517" y="336"/>
                  <a:pt x="514" y="334"/>
                  <a:pt x="515" y="334"/>
                </a:cubicBezTo>
                <a:cubicBezTo>
                  <a:pt x="520" y="335"/>
                  <a:pt x="520" y="335"/>
                  <a:pt x="518" y="333"/>
                </a:cubicBezTo>
                <a:cubicBezTo>
                  <a:pt x="514" y="331"/>
                  <a:pt x="510" y="329"/>
                  <a:pt x="506" y="327"/>
                </a:cubicBezTo>
                <a:cubicBezTo>
                  <a:pt x="505" y="326"/>
                  <a:pt x="501" y="325"/>
                  <a:pt x="502" y="325"/>
                </a:cubicBezTo>
                <a:cubicBezTo>
                  <a:pt x="506" y="325"/>
                  <a:pt x="502" y="324"/>
                  <a:pt x="503" y="323"/>
                </a:cubicBezTo>
                <a:cubicBezTo>
                  <a:pt x="506" y="324"/>
                  <a:pt x="507" y="325"/>
                  <a:pt x="509" y="325"/>
                </a:cubicBezTo>
                <a:cubicBezTo>
                  <a:pt x="515" y="326"/>
                  <a:pt x="516" y="328"/>
                  <a:pt x="523" y="330"/>
                </a:cubicBezTo>
                <a:cubicBezTo>
                  <a:pt x="522" y="329"/>
                  <a:pt x="517" y="328"/>
                  <a:pt x="517" y="327"/>
                </a:cubicBezTo>
                <a:cubicBezTo>
                  <a:pt x="517" y="325"/>
                  <a:pt x="507" y="323"/>
                  <a:pt x="510" y="321"/>
                </a:cubicBezTo>
                <a:cubicBezTo>
                  <a:pt x="511" y="322"/>
                  <a:pt x="512" y="322"/>
                  <a:pt x="513" y="323"/>
                </a:cubicBezTo>
                <a:cubicBezTo>
                  <a:pt x="513" y="324"/>
                  <a:pt x="521" y="326"/>
                  <a:pt x="524" y="328"/>
                </a:cubicBezTo>
                <a:cubicBezTo>
                  <a:pt x="523" y="327"/>
                  <a:pt x="521" y="325"/>
                  <a:pt x="517" y="324"/>
                </a:cubicBezTo>
                <a:cubicBezTo>
                  <a:pt x="513" y="322"/>
                  <a:pt x="509" y="319"/>
                  <a:pt x="504" y="317"/>
                </a:cubicBezTo>
                <a:cubicBezTo>
                  <a:pt x="509" y="319"/>
                  <a:pt x="513" y="320"/>
                  <a:pt x="518" y="322"/>
                </a:cubicBezTo>
                <a:cubicBezTo>
                  <a:pt x="518" y="323"/>
                  <a:pt x="519" y="323"/>
                  <a:pt x="521" y="325"/>
                </a:cubicBezTo>
                <a:cubicBezTo>
                  <a:pt x="523" y="324"/>
                  <a:pt x="523" y="324"/>
                  <a:pt x="521" y="322"/>
                </a:cubicBezTo>
                <a:cubicBezTo>
                  <a:pt x="521" y="322"/>
                  <a:pt x="520" y="322"/>
                  <a:pt x="520" y="321"/>
                </a:cubicBezTo>
                <a:cubicBezTo>
                  <a:pt x="514" y="316"/>
                  <a:pt x="507" y="311"/>
                  <a:pt x="498" y="305"/>
                </a:cubicBezTo>
                <a:cubicBezTo>
                  <a:pt x="499" y="306"/>
                  <a:pt x="500" y="306"/>
                  <a:pt x="500" y="306"/>
                </a:cubicBezTo>
                <a:cubicBezTo>
                  <a:pt x="508" y="311"/>
                  <a:pt x="517" y="315"/>
                  <a:pt x="525" y="320"/>
                </a:cubicBezTo>
                <a:cubicBezTo>
                  <a:pt x="530" y="323"/>
                  <a:pt x="536" y="326"/>
                  <a:pt x="542" y="329"/>
                </a:cubicBezTo>
                <a:cubicBezTo>
                  <a:pt x="542" y="278"/>
                  <a:pt x="542" y="278"/>
                  <a:pt x="542" y="278"/>
                </a:cubicBezTo>
                <a:cubicBezTo>
                  <a:pt x="542" y="277"/>
                  <a:pt x="541" y="277"/>
                  <a:pt x="541" y="277"/>
                </a:cubicBezTo>
                <a:cubicBezTo>
                  <a:pt x="540" y="276"/>
                  <a:pt x="539" y="275"/>
                  <a:pt x="538" y="275"/>
                </a:cubicBezTo>
                <a:cubicBezTo>
                  <a:pt x="538" y="274"/>
                  <a:pt x="537" y="274"/>
                  <a:pt x="536" y="274"/>
                </a:cubicBezTo>
                <a:cubicBezTo>
                  <a:pt x="538" y="273"/>
                  <a:pt x="540" y="273"/>
                  <a:pt x="542" y="274"/>
                </a:cubicBezTo>
                <a:cubicBezTo>
                  <a:pt x="542" y="256"/>
                  <a:pt x="542" y="256"/>
                  <a:pt x="542" y="256"/>
                </a:cubicBezTo>
                <a:cubicBezTo>
                  <a:pt x="542" y="256"/>
                  <a:pt x="542" y="256"/>
                  <a:pt x="542" y="255"/>
                </a:cubicBezTo>
                <a:cubicBezTo>
                  <a:pt x="541" y="255"/>
                  <a:pt x="541" y="254"/>
                  <a:pt x="541" y="254"/>
                </a:cubicBezTo>
                <a:cubicBezTo>
                  <a:pt x="541" y="254"/>
                  <a:pt x="541" y="254"/>
                  <a:pt x="542" y="254"/>
                </a:cubicBezTo>
                <a:cubicBezTo>
                  <a:pt x="542" y="254"/>
                  <a:pt x="542" y="254"/>
                  <a:pt x="542" y="254"/>
                </a:cubicBezTo>
                <a:cubicBezTo>
                  <a:pt x="542" y="237"/>
                  <a:pt x="542" y="237"/>
                  <a:pt x="542" y="237"/>
                </a:cubicBezTo>
                <a:cubicBezTo>
                  <a:pt x="542" y="237"/>
                  <a:pt x="542" y="237"/>
                  <a:pt x="542" y="236"/>
                </a:cubicBezTo>
                <a:cubicBezTo>
                  <a:pt x="542" y="236"/>
                  <a:pt x="542" y="236"/>
                  <a:pt x="542" y="236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7"/>
                  <a:pt x="542" y="207"/>
                  <a:pt x="542" y="207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3"/>
                  <a:pt x="542" y="193"/>
                  <a:pt x="542" y="193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92"/>
                  <a:pt x="542" y="192"/>
                  <a:pt x="542" y="192"/>
                </a:cubicBezTo>
                <a:cubicBezTo>
                  <a:pt x="542" y="148"/>
                  <a:pt x="542" y="148"/>
                  <a:pt x="542" y="148"/>
                </a:cubicBezTo>
                <a:cubicBezTo>
                  <a:pt x="540" y="147"/>
                  <a:pt x="538" y="146"/>
                  <a:pt x="537" y="145"/>
                </a:cubicBezTo>
                <a:cubicBezTo>
                  <a:pt x="539" y="146"/>
                  <a:pt x="541" y="146"/>
                  <a:pt x="542" y="147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ubicBezTo>
                  <a:pt x="542" y="144"/>
                  <a:pt x="542" y="144"/>
                  <a:pt x="542" y="144"/>
                </a:cubicBezTo>
                <a:close/>
              </a:path>
            </a:pathLst>
          </a:custGeom>
          <a:solidFill>
            <a:srgbClr val="F36F21">
              <a:alpha val="69804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313456" y="901245"/>
            <a:ext cx="7983777" cy="4706246"/>
          </a:xfrm>
        </p:spPr>
        <p:txBody>
          <a:bodyPr>
            <a:noAutofit/>
          </a:bodyPr>
          <a:lstStyle/>
          <a:p>
            <a:pPr marL="457200" indent="-457200">
              <a:lnSpc>
                <a:spcPct val="17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v"/>
            </a:pPr>
            <a:r>
              <a:rPr lang="en-IN" sz="2800" cap="none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bjectives &amp; Our Journey</a:t>
            </a:r>
          </a:p>
          <a:p>
            <a:pPr marL="457200" indent="-457200">
              <a:lnSpc>
                <a:spcPct val="17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v"/>
            </a:pPr>
            <a:r>
              <a:rPr lang="en-IN" sz="2800" cap="none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itical success factors</a:t>
            </a:r>
          </a:p>
          <a:p>
            <a:pPr marL="457200" indent="-457200">
              <a:lnSpc>
                <a:spcPct val="17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v"/>
            </a:pPr>
            <a:r>
              <a:rPr lang="en-IN" sz="2800" cap="none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uccessful portal adoption</a:t>
            </a:r>
          </a:p>
          <a:p>
            <a:pPr marL="457200" indent="-457200">
              <a:lnSpc>
                <a:spcPct val="17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v"/>
            </a:pPr>
            <a:r>
              <a:rPr lang="en-IN" sz="2800" cap="none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unctional benefits</a:t>
            </a:r>
          </a:p>
          <a:p>
            <a:pPr marL="457200" indent="-457200">
              <a:lnSpc>
                <a:spcPct val="17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v"/>
            </a:pPr>
            <a:r>
              <a:rPr lang="en-IN" sz="2800" cap="none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formance benefits</a:t>
            </a:r>
          </a:p>
          <a:p>
            <a:pPr marL="457200" indent="-457200">
              <a:lnSpc>
                <a:spcPct val="17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v"/>
            </a:pPr>
            <a:r>
              <a:rPr lang="en-IN" sz="2800" cap="none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een benefits</a:t>
            </a:r>
          </a:p>
          <a:p>
            <a:pPr marL="457200" indent="-457200">
              <a:lnSpc>
                <a:spcPct val="17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v"/>
            </a:pPr>
            <a:r>
              <a:rPr lang="en-IN" sz="2800" cap="none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wards and Recognition</a:t>
            </a:r>
            <a:endParaRPr lang="en-IN" sz="2800" cap="none" dirty="0">
              <a:solidFill>
                <a:schemeClr val="tx1">
                  <a:lumMod val="8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 smtClean="0">
                <a:solidFill>
                  <a:prstClr val="white"/>
                </a:solidFill>
              </a:rPr>
              <a:t>Table of Contents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581921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459169">
            <a:off x="3521911" y="1071274"/>
            <a:ext cx="5222183" cy="2832177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0890223" flipV="1">
            <a:off x="3044412" y="3331625"/>
            <a:ext cx="7196471" cy="1828276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84056" y="3061757"/>
            <a:ext cx="1374565" cy="137456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0367806">
            <a:off x="1209218" y="541311"/>
            <a:ext cx="5222183" cy="2832177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9633620" flipV="1">
            <a:off x="2875743" y="831147"/>
            <a:ext cx="5222183" cy="1394343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</p:pic>
      <p:grpSp>
        <p:nvGrpSpPr>
          <p:cNvPr id="21" name="Group 20"/>
          <p:cNvGrpSpPr/>
          <p:nvPr/>
        </p:nvGrpSpPr>
        <p:grpSpPr>
          <a:xfrm>
            <a:off x="5233018" y="5252874"/>
            <a:ext cx="3282942" cy="1537394"/>
            <a:chOff x="9160034" y="925311"/>
            <a:chExt cx="2577312" cy="1564655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35235" b="22123"/>
            <a:stretch/>
          </p:blipFill>
          <p:spPr>
            <a:xfrm>
              <a:off x="9160034" y="925311"/>
              <a:ext cx="2577312" cy="1207545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76970" r="35235"/>
            <a:stretch/>
          </p:blipFill>
          <p:spPr>
            <a:xfrm>
              <a:off x="9160034" y="2132856"/>
              <a:ext cx="2577312" cy="357110"/>
            </a:xfrm>
            <a:prstGeom prst="rect">
              <a:avLst/>
            </a:prstGeom>
          </p:spPr>
        </p:pic>
      </p:grpSp>
      <p:pic>
        <p:nvPicPr>
          <p:cNvPr id="25" name="Picture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116326" y="4378012"/>
            <a:ext cx="1762105" cy="1592943"/>
          </a:xfrm>
          <a:prstGeom prst="rect">
            <a:avLst/>
          </a:prstGeom>
        </p:spPr>
      </p:pic>
      <p:sp>
        <p:nvSpPr>
          <p:cNvPr id="28" name="Content Placeholder 13"/>
          <p:cNvSpPr>
            <a:spLocks noGrp="1"/>
          </p:cNvSpPr>
          <p:nvPr>
            <p:ph idx="1"/>
          </p:nvPr>
        </p:nvSpPr>
        <p:spPr>
          <a:xfrm>
            <a:off x="9429193" y="5677962"/>
            <a:ext cx="2762807" cy="388900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u="sng" cap="all" spc="200" dirty="0">
                <a:solidFill>
                  <a:srgbClr val="D3D3D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obust Mechanism</a:t>
            </a:r>
          </a:p>
        </p:txBody>
      </p:sp>
      <p:sp>
        <p:nvSpPr>
          <p:cNvPr id="29" name="Content Placeholder 13"/>
          <p:cNvSpPr txBox="1">
            <a:spLocks/>
          </p:cNvSpPr>
          <p:nvPr/>
        </p:nvSpPr>
        <p:spPr>
          <a:xfrm>
            <a:off x="9190741" y="3318530"/>
            <a:ext cx="3312000" cy="46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3838" indent="-223838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550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625" indent="-2190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1746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17303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07008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80744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54480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56C5FF"/>
              </a:buClr>
              <a:buNone/>
            </a:pPr>
            <a:r>
              <a:rPr lang="en-US" u="sng" cap="all" spc="200" dirty="0">
                <a:solidFill>
                  <a:srgbClr val="4BB836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urity &amp; Compliance</a:t>
            </a:r>
          </a:p>
        </p:txBody>
      </p:sp>
      <p:sp>
        <p:nvSpPr>
          <p:cNvPr id="31" name="Content Placeholder 13"/>
          <p:cNvSpPr txBox="1">
            <a:spLocks/>
          </p:cNvSpPr>
          <p:nvPr/>
        </p:nvSpPr>
        <p:spPr>
          <a:xfrm>
            <a:off x="391278" y="5886384"/>
            <a:ext cx="4181731" cy="3889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3838" indent="-223838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550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625" indent="-2190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1746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17303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07008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80744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54480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Clr>
                <a:srgbClr val="56C5FF"/>
              </a:buClr>
              <a:buNone/>
            </a:pPr>
            <a:r>
              <a:rPr lang="en-US" u="sng" cap="all" spc="200" dirty="0">
                <a:solidFill>
                  <a:srgbClr val="13B89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perless </a:t>
            </a:r>
            <a:r>
              <a:rPr lang="en-US" u="sng" cap="all" spc="200" dirty="0" smtClean="0">
                <a:solidFill>
                  <a:srgbClr val="13B898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rticipation</a:t>
            </a:r>
            <a:endParaRPr lang="en-US" u="sng" cap="all" spc="200" dirty="0">
              <a:solidFill>
                <a:srgbClr val="13B898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23117" y="5417920"/>
            <a:ext cx="1363835" cy="1375200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285340" flipV="1">
            <a:off x="1049276" y="2722219"/>
            <a:ext cx="4632151" cy="2245940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</p:pic>
      <p:sp>
        <p:nvSpPr>
          <p:cNvPr id="23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>
                <a:solidFill>
                  <a:prstClr val="white"/>
                </a:solidFill>
              </a:rPr>
              <a:t>Objectives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634148" flipV="1">
            <a:off x="1660419" y="3187951"/>
            <a:ext cx="6461078" cy="1667138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961767">
            <a:off x="3274920" y="2127559"/>
            <a:ext cx="5222183" cy="2832177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74208" y="53554"/>
            <a:ext cx="1553244" cy="971253"/>
          </a:xfrm>
          <a:prstGeom prst="rect">
            <a:avLst/>
          </a:prstGeom>
        </p:spPr>
      </p:pic>
      <p:sp>
        <p:nvSpPr>
          <p:cNvPr id="38" name="Content Placeholder 13"/>
          <p:cNvSpPr txBox="1">
            <a:spLocks/>
          </p:cNvSpPr>
          <p:nvPr/>
        </p:nvSpPr>
        <p:spPr>
          <a:xfrm>
            <a:off x="6117193" y="120678"/>
            <a:ext cx="3312000" cy="46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3838" indent="-223838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550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625" indent="-2190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1746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17303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07008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80744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54480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56C5FF"/>
              </a:buClr>
              <a:buNone/>
            </a:pPr>
            <a:r>
              <a:rPr lang="en-US" u="sng" cap="all" spc="200" dirty="0" smtClean="0">
                <a:solidFill>
                  <a:srgbClr val="3B9BC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parency</a:t>
            </a:r>
            <a:endParaRPr lang="en-US" u="sng" cap="all" spc="200" dirty="0">
              <a:solidFill>
                <a:srgbClr val="3B9BC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82707" y="1385942"/>
            <a:ext cx="4325224" cy="3359721"/>
            <a:chOff x="36569" y="1347572"/>
            <a:chExt cx="5033968" cy="4016646"/>
          </a:xfrm>
        </p:grpSpPr>
        <p:sp>
          <p:nvSpPr>
            <p:cNvPr id="8" name="Shape 223"/>
            <p:cNvSpPr/>
            <p:nvPr/>
          </p:nvSpPr>
          <p:spPr>
            <a:xfrm>
              <a:off x="36569" y="1347572"/>
              <a:ext cx="5033968" cy="4016646"/>
            </a:xfrm>
            <a:custGeom>
              <a:avLst/>
              <a:gdLst/>
              <a:ahLst/>
              <a:cxnLst/>
              <a:rect l="0" t="0" r="0" b="0"/>
              <a:pathLst>
                <a:path w="143434" h="111665" extrusionOk="0">
                  <a:moveTo>
                    <a:pt x="71751" y="2308"/>
                  </a:moveTo>
                  <a:lnTo>
                    <a:pt x="71887" y="2376"/>
                  </a:lnTo>
                  <a:lnTo>
                    <a:pt x="72091" y="2444"/>
                  </a:lnTo>
                  <a:lnTo>
                    <a:pt x="72159" y="2647"/>
                  </a:lnTo>
                  <a:lnTo>
                    <a:pt x="72226" y="2783"/>
                  </a:lnTo>
                  <a:lnTo>
                    <a:pt x="72159" y="2987"/>
                  </a:lnTo>
                  <a:lnTo>
                    <a:pt x="72091" y="3190"/>
                  </a:lnTo>
                  <a:lnTo>
                    <a:pt x="71887" y="3258"/>
                  </a:lnTo>
                  <a:lnTo>
                    <a:pt x="71751" y="3326"/>
                  </a:lnTo>
                  <a:lnTo>
                    <a:pt x="71548" y="3258"/>
                  </a:lnTo>
                  <a:lnTo>
                    <a:pt x="71344" y="3190"/>
                  </a:lnTo>
                  <a:lnTo>
                    <a:pt x="71276" y="2987"/>
                  </a:lnTo>
                  <a:lnTo>
                    <a:pt x="71208" y="2783"/>
                  </a:lnTo>
                  <a:lnTo>
                    <a:pt x="71276" y="2647"/>
                  </a:lnTo>
                  <a:lnTo>
                    <a:pt x="71344" y="2444"/>
                  </a:lnTo>
                  <a:lnTo>
                    <a:pt x="71548" y="2376"/>
                  </a:lnTo>
                  <a:lnTo>
                    <a:pt x="71751" y="2308"/>
                  </a:lnTo>
                  <a:close/>
                  <a:moveTo>
                    <a:pt x="137528" y="5906"/>
                  </a:moveTo>
                  <a:lnTo>
                    <a:pt x="137596" y="5974"/>
                  </a:lnTo>
                  <a:lnTo>
                    <a:pt x="137596" y="89604"/>
                  </a:lnTo>
                  <a:lnTo>
                    <a:pt x="5906" y="89604"/>
                  </a:lnTo>
                  <a:lnTo>
                    <a:pt x="5906" y="5974"/>
                  </a:lnTo>
                  <a:lnTo>
                    <a:pt x="5906" y="5906"/>
                  </a:lnTo>
                  <a:close/>
                  <a:moveTo>
                    <a:pt x="3530" y="0"/>
                  </a:moveTo>
                  <a:lnTo>
                    <a:pt x="3191" y="68"/>
                  </a:lnTo>
                  <a:lnTo>
                    <a:pt x="2444" y="339"/>
                  </a:lnTo>
                  <a:lnTo>
                    <a:pt x="1766" y="679"/>
                  </a:lnTo>
                  <a:lnTo>
                    <a:pt x="1155" y="1154"/>
                  </a:lnTo>
                  <a:lnTo>
                    <a:pt x="679" y="1765"/>
                  </a:lnTo>
                  <a:lnTo>
                    <a:pt x="272" y="2444"/>
                  </a:lnTo>
                  <a:lnTo>
                    <a:pt x="69" y="3190"/>
                  </a:lnTo>
                  <a:lnTo>
                    <a:pt x="1" y="3598"/>
                  </a:lnTo>
                  <a:lnTo>
                    <a:pt x="1" y="4005"/>
                  </a:lnTo>
                  <a:lnTo>
                    <a:pt x="1" y="91572"/>
                  </a:lnTo>
                  <a:lnTo>
                    <a:pt x="1" y="91979"/>
                  </a:lnTo>
                  <a:lnTo>
                    <a:pt x="69" y="92319"/>
                  </a:lnTo>
                  <a:lnTo>
                    <a:pt x="272" y="93065"/>
                  </a:lnTo>
                  <a:lnTo>
                    <a:pt x="679" y="93744"/>
                  </a:lnTo>
                  <a:lnTo>
                    <a:pt x="1155" y="94355"/>
                  </a:lnTo>
                  <a:lnTo>
                    <a:pt x="1766" y="94830"/>
                  </a:lnTo>
                  <a:lnTo>
                    <a:pt x="2444" y="95238"/>
                  </a:lnTo>
                  <a:lnTo>
                    <a:pt x="3191" y="95441"/>
                  </a:lnTo>
                  <a:lnTo>
                    <a:pt x="3530" y="95509"/>
                  </a:lnTo>
                  <a:lnTo>
                    <a:pt x="139904" y="95509"/>
                  </a:lnTo>
                  <a:lnTo>
                    <a:pt x="140311" y="95441"/>
                  </a:lnTo>
                  <a:lnTo>
                    <a:pt x="141058" y="95238"/>
                  </a:lnTo>
                  <a:lnTo>
                    <a:pt x="141737" y="94830"/>
                  </a:lnTo>
                  <a:lnTo>
                    <a:pt x="142280" y="94355"/>
                  </a:lnTo>
                  <a:lnTo>
                    <a:pt x="142755" y="93744"/>
                  </a:lnTo>
                  <a:lnTo>
                    <a:pt x="143162" y="93065"/>
                  </a:lnTo>
                  <a:lnTo>
                    <a:pt x="143366" y="92319"/>
                  </a:lnTo>
                  <a:lnTo>
                    <a:pt x="143434" y="91979"/>
                  </a:lnTo>
                  <a:lnTo>
                    <a:pt x="143434" y="91572"/>
                  </a:lnTo>
                  <a:lnTo>
                    <a:pt x="143434" y="4005"/>
                  </a:lnTo>
                  <a:lnTo>
                    <a:pt x="143434" y="3598"/>
                  </a:lnTo>
                  <a:lnTo>
                    <a:pt x="143366" y="3190"/>
                  </a:lnTo>
                  <a:lnTo>
                    <a:pt x="143162" y="2444"/>
                  </a:lnTo>
                  <a:lnTo>
                    <a:pt x="142755" y="1765"/>
                  </a:lnTo>
                  <a:lnTo>
                    <a:pt x="142280" y="1154"/>
                  </a:lnTo>
                  <a:lnTo>
                    <a:pt x="141737" y="679"/>
                  </a:lnTo>
                  <a:lnTo>
                    <a:pt x="141058" y="339"/>
                  </a:lnTo>
                  <a:lnTo>
                    <a:pt x="140311" y="68"/>
                  </a:lnTo>
                  <a:lnTo>
                    <a:pt x="139904" y="0"/>
                  </a:lnTo>
                  <a:close/>
                  <a:moveTo>
                    <a:pt x="55324" y="95713"/>
                  </a:moveTo>
                  <a:lnTo>
                    <a:pt x="55052" y="98971"/>
                  </a:lnTo>
                  <a:lnTo>
                    <a:pt x="54713" y="102297"/>
                  </a:lnTo>
                  <a:lnTo>
                    <a:pt x="54374" y="105284"/>
                  </a:lnTo>
                  <a:lnTo>
                    <a:pt x="53966" y="107388"/>
                  </a:lnTo>
                  <a:lnTo>
                    <a:pt x="53763" y="108203"/>
                  </a:lnTo>
                  <a:lnTo>
                    <a:pt x="53627" y="108746"/>
                  </a:lnTo>
                  <a:lnTo>
                    <a:pt x="53423" y="109153"/>
                  </a:lnTo>
                  <a:lnTo>
                    <a:pt x="53220" y="109357"/>
                  </a:lnTo>
                  <a:lnTo>
                    <a:pt x="52677" y="109493"/>
                  </a:lnTo>
                  <a:lnTo>
                    <a:pt x="51794" y="109696"/>
                  </a:lnTo>
                  <a:lnTo>
                    <a:pt x="49690" y="110036"/>
                  </a:lnTo>
                  <a:lnTo>
                    <a:pt x="48061" y="110307"/>
                  </a:lnTo>
                  <a:lnTo>
                    <a:pt x="47450" y="110443"/>
                  </a:lnTo>
                  <a:lnTo>
                    <a:pt x="47110" y="110511"/>
                  </a:lnTo>
                  <a:lnTo>
                    <a:pt x="47042" y="110579"/>
                  </a:lnTo>
                  <a:lnTo>
                    <a:pt x="47042" y="110783"/>
                  </a:lnTo>
                  <a:lnTo>
                    <a:pt x="47110" y="110850"/>
                  </a:lnTo>
                  <a:lnTo>
                    <a:pt x="47585" y="110918"/>
                  </a:lnTo>
                  <a:lnTo>
                    <a:pt x="48400" y="110986"/>
                  </a:lnTo>
                  <a:lnTo>
                    <a:pt x="51387" y="111054"/>
                  </a:lnTo>
                  <a:lnTo>
                    <a:pt x="56071" y="111122"/>
                  </a:lnTo>
                  <a:lnTo>
                    <a:pt x="87092" y="111122"/>
                  </a:lnTo>
                  <a:lnTo>
                    <a:pt x="91708" y="111054"/>
                  </a:lnTo>
                  <a:lnTo>
                    <a:pt x="94695" y="110986"/>
                  </a:lnTo>
                  <a:lnTo>
                    <a:pt x="95578" y="110918"/>
                  </a:lnTo>
                  <a:lnTo>
                    <a:pt x="96053" y="110850"/>
                  </a:lnTo>
                  <a:lnTo>
                    <a:pt x="96121" y="110783"/>
                  </a:lnTo>
                  <a:lnTo>
                    <a:pt x="96121" y="110579"/>
                  </a:lnTo>
                  <a:lnTo>
                    <a:pt x="96053" y="110511"/>
                  </a:lnTo>
                  <a:lnTo>
                    <a:pt x="95713" y="110443"/>
                  </a:lnTo>
                  <a:lnTo>
                    <a:pt x="95102" y="110307"/>
                  </a:lnTo>
                  <a:lnTo>
                    <a:pt x="93473" y="110036"/>
                  </a:lnTo>
                  <a:lnTo>
                    <a:pt x="91369" y="109696"/>
                  </a:lnTo>
                  <a:lnTo>
                    <a:pt x="90487" y="109493"/>
                  </a:lnTo>
                  <a:lnTo>
                    <a:pt x="89943" y="109357"/>
                  </a:lnTo>
                  <a:lnTo>
                    <a:pt x="89740" y="109153"/>
                  </a:lnTo>
                  <a:lnTo>
                    <a:pt x="89536" y="108746"/>
                  </a:lnTo>
                  <a:lnTo>
                    <a:pt x="89333" y="108203"/>
                  </a:lnTo>
                  <a:lnTo>
                    <a:pt x="89197" y="107388"/>
                  </a:lnTo>
                  <a:lnTo>
                    <a:pt x="88789" y="105284"/>
                  </a:lnTo>
                  <a:lnTo>
                    <a:pt x="88382" y="102297"/>
                  </a:lnTo>
                  <a:lnTo>
                    <a:pt x="88043" y="98971"/>
                  </a:lnTo>
                  <a:lnTo>
                    <a:pt x="87839" y="95713"/>
                  </a:lnTo>
                  <a:close/>
                  <a:moveTo>
                    <a:pt x="47450" y="111054"/>
                  </a:moveTo>
                  <a:lnTo>
                    <a:pt x="47450" y="111122"/>
                  </a:lnTo>
                  <a:lnTo>
                    <a:pt x="47450" y="111393"/>
                  </a:lnTo>
                  <a:lnTo>
                    <a:pt x="47518" y="111461"/>
                  </a:lnTo>
                  <a:lnTo>
                    <a:pt x="48807" y="111529"/>
                  </a:lnTo>
                  <a:lnTo>
                    <a:pt x="52473" y="111597"/>
                  </a:lnTo>
                  <a:lnTo>
                    <a:pt x="62384" y="111665"/>
                  </a:lnTo>
                  <a:lnTo>
                    <a:pt x="80779" y="111665"/>
                  </a:lnTo>
                  <a:lnTo>
                    <a:pt x="90622" y="111597"/>
                  </a:lnTo>
                  <a:lnTo>
                    <a:pt x="94356" y="111529"/>
                  </a:lnTo>
                  <a:lnTo>
                    <a:pt x="95646" y="111461"/>
                  </a:lnTo>
                  <a:lnTo>
                    <a:pt x="95713" y="111393"/>
                  </a:lnTo>
                  <a:lnTo>
                    <a:pt x="95713" y="111122"/>
                  </a:lnTo>
                  <a:lnTo>
                    <a:pt x="95646" y="111054"/>
                  </a:lnTo>
                  <a:lnTo>
                    <a:pt x="94084" y="111122"/>
                  </a:lnTo>
                  <a:lnTo>
                    <a:pt x="91233" y="111190"/>
                  </a:lnTo>
                  <a:lnTo>
                    <a:pt x="80847" y="111258"/>
                  </a:lnTo>
                  <a:lnTo>
                    <a:pt x="62316" y="111258"/>
                  </a:lnTo>
                  <a:lnTo>
                    <a:pt x="51930" y="111190"/>
                  </a:lnTo>
                  <a:lnTo>
                    <a:pt x="49079" y="111122"/>
                  </a:lnTo>
                  <a:lnTo>
                    <a:pt x="47518" y="111054"/>
                  </a:lnTo>
                  <a:close/>
                </a:path>
              </a:pathLst>
            </a:custGeom>
            <a:solidFill>
              <a:schemeClr val="tx2">
                <a:lumMod val="90000"/>
                <a:alpha val="21150"/>
              </a:schemeClr>
            </a:solidFill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>
                <a:solidFill>
                  <a:prstClr val="white"/>
                </a:solidFill>
              </a:endParaRP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 xmlns="">
                    <a14:imgLayer r:embed="rId12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55782" y="1570084"/>
              <a:ext cx="4611679" cy="263340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55821" y="1837064"/>
              <a:ext cx="4611600" cy="2737342"/>
            </a:xfrm>
            <a:prstGeom prst="rect">
              <a:avLst/>
            </a:prstGeom>
          </p:spPr>
        </p:pic>
      </p:grpSp>
      <p:pic>
        <p:nvPicPr>
          <p:cNvPr id="1028" name="Picture 4" descr="Image result for equality 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45689" y="615759"/>
            <a:ext cx="1265267" cy="1082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Content Placeholder 13"/>
          <p:cNvSpPr txBox="1">
            <a:spLocks/>
          </p:cNvSpPr>
          <p:nvPr/>
        </p:nvSpPr>
        <p:spPr>
          <a:xfrm>
            <a:off x="9101837" y="673379"/>
            <a:ext cx="2500052" cy="46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3838" indent="-223838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550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625" indent="-2190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1746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17303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07008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80744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54480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56C5FF"/>
              </a:buClr>
              <a:buNone/>
            </a:pPr>
            <a:r>
              <a:rPr lang="en-US" u="sng" cap="all" spc="200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qual Opportunity</a:t>
            </a:r>
            <a:endParaRPr lang="en-US" u="sng" cap="all" spc="200" dirty="0">
              <a:solidFill>
                <a:schemeClr val="accent3">
                  <a:lumMod val="40000"/>
                  <a:lumOff val="6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Content Placeholder 13"/>
          <p:cNvSpPr txBox="1">
            <a:spLocks/>
          </p:cNvSpPr>
          <p:nvPr/>
        </p:nvSpPr>
        <p:spPr>
          <a:xfrm>
            <a:off x="9658621" y="1994889"/>
            <a:ext cx="2586569" cy="46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3838" indent="-223838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550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2625" indent="-21907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7250" indent="-174625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30288" indent="-173038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SzPct val="10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07008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80744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54480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indent="-173736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Clr>
                <a:srgbClr val="56C5FF"/>
              </a:buClr>
              <a:buNone/>
            </a:pPr>
            <a:r>
              <a:rPr lang="en-US" u="sng" cap="all" spc="200" dirty="0" smtClean="0">
                <a:solidFill>
                  <a:srgbClr val="C5E5F5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lobal Participation</a:t>
            </a:r>
            <a:endParaRPr lang="en-US" u="sng" cap="all" spc="200" dirty="0">
              <a:solidFill>
                <a:srgbClr val="C5E5F5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40" name="Picture 16" descr="Image result for indian in globe 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34189" y="1635382"/>
            <a:ext cx="1262834" cy="1333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807208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>
                <a:solidFill>
                  <a:prstClr val="white"/>
                </a:solidFill>
              </a:rPr>
              <a:t>e</a:t>
            </a:r>
            <a:r>
              <a:rPr lang="en-US" sz="4400" b="1" u="sng" dirty="0" smtClean="0">
                <a:solidFill>
                  <a:prstClr val="white"/>
                </a:solidFill>
              </a:rPr>
              <a:t>-Tendering : Our journey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6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  <p:cxnSp>
        <p:nvCxnSpPr>
          <p:cNvPr id="59" name="OTLSHAPE_M_93afb554552a4221a5380f7919409aa7_Connector1"/>
          <p:cNvCxnSpPr/>
          <p:nvPr>
            <p:custDataLst>
              <p:tags r:id="rId1"/>
            </p:custDataLst>
          </p:nvPr>
        </p:nvCxnSpPr>
        <p:spPr>
          <a:xfrm>
            <a:off x="7124302" y="1600768"/>
            <a:ext cx="0" cy="2360538"/>
          </a:xfrm>
          <a:prstGeom prst="line">
            <a:avLst/>
          </a:prstGeom>
          <a:ln w="9525" cap="flat" cmpd="sng" algn="ctr">
            <a:solidFill>
              <a:schemeClr val="accent3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OTLSHAPE_M_52743de8bb6d4044896f473898fe9da7_Connector1"/>
          <p:cNvCxnSpPr/>
          <p:nvPr>
            <p:custDataLst>
              <p:tags r:id="rId2"/>
            </p:custDataLst>
          </p:nvPr>
        </p:nvCxnSpPr>
        <p:spPr>
          <a:xfrm>
            <a:off x="1604827" y="2495006"/>
            <a:ext cx="0" cy="1607312"/>
          </a:xfrm>
          <a:prstGeom prst="line">
            <a:avLst/>
          </a:prstGeom>
          <a:ln w="9525" cap="flat" cmpd="sng" algn="ctr">
            <a:solidFill>
              <a:srgbClr val="9CDC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OTLSHAPE_M_a58f29487c0343c08abcf41913e40cae_Connector1"/>
          <p:cNvCxnSpPr/>
          <p:nvPr>
            <p:custDataLst>
              <p:tags r:id="rId3"/>
            </p:custDataLst>
          </p:nvPr>
        </p:nvCxnSpPr>
        <p:spPr>
          <a:xfrm flipH="1">
            <a:off x="1419720" y="1867989"/>
            <a:ext cx="0" cy="2234329"/>
          </a:xfrm>
          <a:prstGeom prst="line">
            <a:avLst/>
          </a:prstGeom>
          <a:ln w="9525" cap="flat" cmpd="sng" algn="ctr">
            <a:solidFill>
              <a:srgbClr val="0072B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OTLSHAPE_TB_00000000000000000000000000000000_LeftEndCaps"/>
          <p:cNvSpPr txBox="1"/>
          <p:nvPr>
            <p:custDataLst>
              <p:tags r:id="rId4"/>
            </p:custDataLst>
          </p:nvPr>
        </p:nvSpPr>
        <p:spPr>
          <a:xfrm>
            <a:off x="92714" y="4108152"/>
            <a:ext cx="648384" cy="36933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ctr"/>
            <a:r>
              <a:rPr lang="en-US" sz="2400" spc="-36" dirty="0" smtClean="0">
                <a:solidFill>
                  <a:srgbClr val="F36F2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10</a:t>
            </a:r>
            <a:endParaRPr lang="en-US" sz="2400" spc="-36" dirty="0">
              <a:solidFill>
                <a:srgbClr val="F36F2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6" name="OTLSHAPE_TB_00000000000000000000000000000000_RightEndCaps"/>
          <p:cNvSpPr txBox="1"/>
          <p:nvPr>
            <p:custDataLst>
              <p:tags r:id="rId5"/>
            </p:custDataLst>
          </p:nvPr>
        </p:nvSpPr>
        <p:spPr>
          <a:xfrm>
            <a:off x="11406315" y="4108152"/>
            <a:ext cx="686855" cy="369332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algn="ctr"/>
            <a:r>
              <a:rPr lang="en-US" sz="2400" b="1" spc="-36" dirty="0" smtClean="0">
                <a:solidFill>
                  <a:schemeClr val="accent2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19</a:t>
            </a:r>
            <a:endParaRPr lang="en-US" sz="2400" b="1" spc="-36" dirty="0">
              <a:solidFill>
                <a:schemeClr val="accent2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OTLSHAPE_TB_00000000000000000000000000000000_ScaleContainer"/>
          <p:cNvSpPr/>
          <p:nvPr>
            <p:custDataLst>
              <p:tags r:id="rId6"/>
            </p:custDataLst>
          </p:nvPr>
        </p:nvSpPr>
        <p:spPr>
          <a:xfrm>
            <a:off x="819180" y="4102318"/>
            <a:ext cx="10464609" cy="381000"/>
          </a:xfrm>
          <a:prstGeom prst="roundRect">
            <a:avLst>
              <a:gd name="adj" fmla="val 100000"/>
            </a:avLst>
          </a:prstGeom>
          <a:solidFill>
            <a:schemeClr val="accent3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>
            <a:reflection blurRad="6350" stA="500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137361" y="4165818"/>
            <a:ext cx="9257370" cy="254000"/>
            <a:chOff x="1137361" y="4165818"/>
            <a:chExt cx="8067480" cy="254000"/>
          </a:xfrm>
        </p:grpSpPr>
        <p:sp>
          <p:nvSpPr>
            <p:cNvPr id="98" name="OTLSHAPE_TB_00000000000000000000000000000000_TimescaleInterval1"/>
            <p:cNvSpPr txBox="1"/>
            <p:nvPr>
              <p:custDataLst>
                <p:tags r:id="rId50"/>
              </p:custDataLst>
            </p:nvPr>
          </p:nvSpPr>
          <p:spPr>
            <a:xfrm>
              <a:off x="1137361" y="4199791"/>
              <a:ext cx="373229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600" b="1" spc="-18" dirty="0" smtClean="0">
                  <a:solidFill>
                    <a:schemeClr val="lt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1</a:t>
              </a:r>
              <a:endParaRPr lang="en-US" sz="1600" b="1" spc="-18" dirty="0">
                <a:solidFill>
                  <a:schemeClr val="lt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99" name="OTLSHAPE_TB_00000000000000000000000000000000_Separator1"/>
            <p:cNvCxnSpPr/>
            <p:nvPr>
              <p:custDataLst>
                <p:tags r:id="rId51"/>
              </p:custDataLst>
            </p:nvPr>
          </p:nvCxnSpPr>
          <p:spPr>
            <a:xfrm>
              <a:off x="2170881" y="4165818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OTLSHAPE_TB_00000000000000000000000000000000_TimescaleInterval2"/>
            <p:cNvSpPr txBox="1"/>
            <p:nvPr>
              <p:custDataLst>
                <p:tags r:id="rId52"/>
              </p:custDataLst>
            </p:nvPr>
          </p:nvSpPr>
          <p:spPr>
            <a:xfrm>
              <a:off x="2259265" y="4199791"/>
              <a:ext cx="287999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600" b="1" spc="-18" dirty="0" smtClean="0">
                  <a:solidFill>
                    <a:schemeClr val="lt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2</a:t>
              </a:r>
              <a:endParaRPr lang="en-US" sz="1600" b="1" spc="-18" dirty="0">
                <a:solidFill>
                  <a:schemeClr val="lt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01" name="OTLSHAPE_TB_00000000000000000000000000000000_Separator2"/>
            <p:cNvCxnSpPr/>
            <p:nvPr>
              <p:custDataLst>
                <p:tags r:id="rId53"/>
              </p:custDataLst>
            </p:nvPr>
          </p:nvCxnSpPr>
          <p:spPr>
            <a:xfrm>
              <a:off x="3256596" y="4165818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OTLSHAPE_TB_00000000000000000000000000000000_TimescaleInterval3"/>
            <p:cNvSpPr txBox="1"/>
            <p:nvPr>
              <p:custDataLst>
                <p:tags r:id="rId54"/>
              </p:custDataLst>
            </p:nvPr>
          </p:nvSpPr>
          <p:spPr>
            <a:xfrm>
              <a:off x="3344980" y="4199791"/>
              <a:ext cx="220172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600" b="1" spc="-20" dirty="0" smtClean="0">
                  <a:solidFill>
                    <a:schemeClr val="lt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3</a:t>
              </a:r>
              <a:endParaRPr lang="en-US" sz="1600" b="1" spc="-20" dirty="0">
                <a:solidFill>
                  <a:schemeClr val="lt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03" name="OTLSHAPE_TB_00000000000000000000000000000000_Separator3"/>
            <p:cNvCxnSpPr/>
            <p:nvPr>
              <p:custDataLst>
                <p:tags r:id="rId55"/>
              </p:custDataLst>
            </p:nvPr>
          </p:nvCxnSpPr>
          <p:spPr>
            <a:xfrm>
              <a:off x="4378501" y="4165818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" name="OTLSHAPE_TB_00000000000000000000000000000000_TimescaleInterval4"/>
            <p:cNvSpPr txBox="1"/>
            <p:nvPr>
              <p:custDataLst>
                <p:tags r:id="rId56"/>
              </p:custDataLst>
            </p:nvPr>
          </p:nvSpPr>
          <p:spPr>
            <a:xfrm>
              <a:off x="4466885" y="4199791"/>
              <a:ext cx="335857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600" b="1" spc="-20" dirty="0" smtClean="0">
                  <a:solidFill>
                    <a:schemeClr val="lt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4</a:t>
              </a:r>
              <a:endParaRPr lang="en-US" sz="1600" b="1" spc="-20" dirty="0">
                <a:solidFill>
                  <a:schemeClr val="lt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05" name="OTLSHAPE_TB_00000000000000000000000000000000_Separator4"/>
            <p:cNvCxnSpPr/>
            <p:nvPr>
              <p:custDataLst>
                <p:tags r:id="rId57"/>
              </p:custDataLst>
            </p:nvPr>
          </p:nvCxnSpPr>
          <p:spPr>
            <a:xfrm>
              <a:off x="5500407" y="4165818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OTLSHAPE_TB_00000000000000000000000000000000_TimescaleInterval5"/>
            <p:cNvSpPr txBox="1"/>
            <p:nvPr>
              <p:custDataLst>
                <p:tags r:id="rId58"/>
              </p:custDataLst>
            </p:nvPr>
          </p:nvSpPr>
          <p:spPr>
            <a:xfrm>
              <a:off x="5588790" y="4199791"/>
              <a:ext cx="318181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600" b="1" spc="-18" dirty="0" smtClean="0">
                  <a:solidFill>
                    <a:schemeClr val="lt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5</a:t>
              </a:r>
              <a:endParaRPr lang="en-US" sz="1600" b="1" spc="-18" dirty="0">
                <a:solidFill>
                  <a:schemeClr val="lt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07" name="OTLSHAPE_TB_00000000000000000000000000000000_Separator5"/>
            <p:cNvCxnSpPr/>
            <p:nvPr>
              <p:custDataLst>
                <p:tags r:id="rId59"/>
              </p:custDataLst>
            </p:nvPr>
          </p:nvCxnSpPr>
          <p:spPr>
            <a:xfrm>
              <a:off x="6586121" y="4165818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OTLSHAPE_TB_00000000000000000000000000000000_TimescaleInterval6"/>
            <p:cNvSpPr txBox="1"/>
            <p:nvPr>
              <p:custDataLst>
                <p:tags r:id="rId60"/>
              </p:custDataLst>
            </p:nvPr>
          </p:nvSpPr>
          <p:spPr>
            <a:xfrm>
              <a:off x="6674506" y="4199791"/>
              <a:ext cx="293890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600" b="1" spc="-22" dirty="0" smtClean="0">
                  <a:solidFill>
                    <a:schemeClr val="lt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6</a:t>
              </a:r>
              <a:endParaRPr lang="en-US" sz="1600" b="1" spc="-22" dirty="0">
                <a:solidFill>
                  <a:schemeClr val="lt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09" name="OTLSHAPE_TB_00000000000000000000000000000000_Separator6"/>
            <p:cNvCxnSpPr/>
            <p:nvPr>
              <p:custDataLst>
                <p:tags r:id="rId61"/>
              </p:custDataLst>
            </p:nvPr>
          </p:nvCxnSpPr>
          <p:spPr>
            <a:xfrm>
              <a:off x="7708027" y="4165818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OTLSHAPE_TB_00000000000000000000000000000000_TimescaleInterval7"/>
            <p:cNvSpPr txBox="1"/>
            <p:nvPr>
              <p:custDataLst>
                <p:tags r:id="rId62"/>
              </p:custDataLst>
            </p:nvPr>
          </p:nvSpPr>
          <p:spPr>
            <a:xfrm>
              <a:off x="7796410" y="4199791"/>
              <a:ext cx="339585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600" b="1" spc="-20" dirty="0" smtClean="0">
                  <a:solidFill>
                    <a:schemeClr val="lt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7</a:t>
              </a:r>
              <a:endParaRPr lang="en-US" sz="1600" b="1" spc="-20" dirty="0">
                <a:solidFill>
                  <a:schemeClr val="lt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11" name="OTLSHAPE_TB_00000000000000000000000000000000_Separator7"/>
            <p:cNvCxnSpPr/>
            <p:nvPr>
              <p:custDataLst>
                <p:tags r:id="rId63"/>
              </p:custDataLst>
            </p:nvPr>
          </p:nvCxnSpPr>
          <p:spPr>
            <a:xfrm>
              <a:off x="8793741" y="4165818"/>
              <a:ext cx="0" cy="254000"/>
            </a:xfrm>
            <a:prstGeom prst="line">
              <a:avLst/>
            </a:prstGeom>
            <a:ln w="6350" cap="flat" cmpd="sng" algn="ctr">
              <a:solidFill>
                <a:schemeClr val="lt2">
                  <a:alpha val="29804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OTLSHAPE_TB_00000000000000000000000000000000_TimescaleInterval8"/>
            <p:cNvSpPr txBox="1"/>
            <p:nvPr>
              <p:custDataLst>
                <p:tags r:id="rId64"/>
              </p:custDataLst>
            </p:nvPr>
          </p:nvSpPr>
          <p:spPr>
            <a:xfrm>
              <a:off x="8882126" y="4199791"/>
              <a:ext cx="322715" cy="186055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noAutofit/>
            </a:bodyPr>
            <a:lstStyle/>
            <a:p>
              <a:r>
                <a:rPr lang="en-US" sz="1600" b="1" spc="-22" dirty="0" smtClean="0">
                  <a:solidFill>
                    <a:schemeClr val="lt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018</a:t>
              </a:r>
              <a:endParaRPr lang="en-US" sz="1600" b="1" spc="-22" dirty="0">
                <a:solidFill>
                  <a:schemeClr val="lt2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15" name="OTLSHAPE_M_a58f29487c0343c08abcf41913e40cae_Title"/>
          <p:cNvSpPr txBox="1"/>
          <p:nvPr>
            <p:custDataLst>
              <p:tags r:id="rId7"/>
            </p:custDataLst>
          </p:nvPr>
        </p:nvSpPr>
        <p:spPr>
          <a:xfrm>
            <a:off x="1676030" y="1694808"/>
            <a:ext cx="1648863" cy="36612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2400" dirty="0">
                <a:solidFill>
                  <a:schemeClr val="accent1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First Tender </a:t>
            </a:r>
            <a:endParaRPr lang="en-IN" sz="2400" dirty="0">
              <a:solidFill>
                <a:schemeClr val="accent1">
                  <a:lumMod val="20000"/>
                  <a:lumOff val="80000"/>
                </a:schemeClr>
              </a:solidFill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</p:txBody>
      </p:sp>
      <p:sp>
        <p:nvSpPr>
          <p:cNvPr id="116" name="OTLSHAPE_M_a58f29487c0343c08abcf41913e40cae_Date"/>
          <p:cNvSpPr txBox="1"/>
          <p:nvPr>
            <p:custDataLst>
              <p:tags r:id="rId8"/>
            </p:custDataLst>
          </p:nvPr>
        </p:nvSpPr>
        <p:spPr>
          <a:xfrm>
            <a:off x="1676031" y="2003552"/>
            <a:ext cx="1147454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400" spc="-8" dirty="0" smtClean="0">
                <a:solidFill>
                  <a:srgbClr val="7F7F7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ay </a:t>
            </a:r>
            <a:r>
              <a:rPr lang="en-US" sz="1400" spc="-8" dirty="0">
                <a:solidFill>
                  <a:srgbClr val="7F7F7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spc="-8" dirty="0" smtClean="0">
                <a:solidFill>
                  <a:srgbClr val="7F7F7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11</a:t>
            </a:r>
            <a:endParaRPr lang="en-US" sz="1400" spc="-8" dirty="0">
              <a:solidFill>
                <a:srgbClr val="7F7F7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7" name="OTLSHAPE_M_a58f29487c0343c08abcf41913e40cae_Shape"/>
          <p:cNvSpPr/>
          <p:nvPr>
            <p:custDataLst>
              <p:tags r:id="rId9"/>
            </p:custDataLst>
          </p:nvPr>
        </p:nvSpPr>
        <p:spPr>
          <a:xfrm rot="16200000">
            <a:off x="1487422" y="1827420"/>
            <a:ext cx="165100" cy="229797"/>
          </a:xfrm>
          <a:prstGeom prst="flowChartMerge">
            <a:avLst/>
          </a:prstGeom>
          <a:solidFill>
            <a:srgbClr val="087FC3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8" name="OTLSHAPE_M_52743de8bb6d4044896f473898fe9da7_Title"/>
          <p:cNvSpPr txBox="1"/>
          <p:nvPr>
            <p:custDataLst>
              <p:tags r:id="rId10"/>
            </p:custDataLst>
          </p:nvPr>
        </p:nvSpPr>
        <p:spPr>
          <a:xfrm>
            <a:off x="1856984" y="2298459"/>
            <a:ext cx="2814183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2400" spc="-6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Help-Desk Setup</a:t>
            </a:r>
            <a:endParaRPr lang="en-US" sz="2400" spc="-6" dirty="0">
              <a:solidFill>
                <a:schemeClr val="accent3">
                  <a:lumMod val="40000"/>
                  <a:lumOff val="6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9" name="OTLSHAPE_M_52743de8bb6d4044896f473898fe9da7_Date"/>
          <p:cNvSpPr txBox="1"/>
          <p:nvPr>
            <p:custDataLst>
              <p:tags r:id="rId11"/>
            </p:custDataLst>
          </p:nvPr>
        </p:nvSpPr>
        <p:spPr>
          <a:xfrm>
            <a:off x="1856984" y="2634930"/>
            <a:ext cx="794775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400" spc="-8" dirty="0" smtClean="0">
                <a:solidFill>
                  <a:srgbClr val="7F7F7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ne 2011</a:t>
            </a:r>
            <a:endParaRPr lang="en-US" sz="1400" spc="-8" dirty="0">
              <a:solidFill>
                <a:srgbClr val="7F7F7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0" name="OTLSHAPE_M_52743de8bb6d4044896f473898fe9da7_Shape"/>
          <p:cNvSpPr/>
          <p:nvPr>
            <p:custDataLst>
              <p:tags r:id="rId12"/>
            </p:custDataLst>
          </p:nvPr>
        </p:nvSpPr>
        <p:spPr>
          <a:xfrm rot="16200000">
            <a:off x="1668374" y="2484926"/>
            <a:ext cx="165100" cy="229797"/>
          </a:xfrm>
          <a:prstGeom prst="flowChartMerge">
            <a:avLst/>
          </a:prstGeom>
          <a:solidFill>
            <a:srgbClr val="92D050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3" name="OTLSHAPE_M_a54bc827b05146d18b559f618723e2b4_Shape"/>
          <p:cNvSpPr/>
          <p:nvPr>
            <p:custDataLst>
              <p:tags r:id="rId13"/>
            </p:custDataLst>
          </p:nvPr>
        </p:nvSpPr>
        <p:spPr>
          <a:xfrm>
            <a:off x="9370751" y="3925458"/>
            <a:ext cx="318181" cy="254000"/>
          </a:xfrm>
          <a:prstGeom prst="teardrop">
            <a:avLst/>
          </a:pr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6" name="OTLSHAPE_M_93afb554552a4221a5380f7919409aa7_Shape"/>
          <p:cNvSpPr/>
          <p:nvPr>
            <p:custDataLst>
              <p:tags r:id="rId14"/>
            </p:custDataLst>
          </p:nvPr>
        </p:nvSpPr>
        <p:spPr>
          <a:xfrm>
            <a:off x="6965212" y="3925458"/>
            <a:ext cx="318181" cy="254000"/>
          </a:xfrm>
          <a:prstGeom prst="teardrop">
            <a:avLst/>
          </a:prstGeom>
          <a:solidFill>
            <a:schemeClr val="accent3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1" name="OTLSHAPE_M_7f583de0854a4cacb89837f3a379bb4a_Title"/>
          <p:cNvSpPr txBox="1"/>
          <p:nvPr>
            <p:custDataLst>
              <p:tags r:id="rId15"/>
            </p:custDataLst>
          </p:nvPr>
        </p:nvSpPr>
        <p:spPr>
          <a:xfrm>
            <a:off x="8370960" y="4791284"/>
            <a:ext cx="3780000" cy="143116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2400" spc="-6" dirty="0" smtClean="0">
                <a:solidFill>
                  <a:srgbClr val="489A6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90 bids received in single tender</a:t>
            </a:r>
          </a:p>
          <a:p>
            <a:endParaRPr lang="en-US" sz="900" spc="-6" dirty="0">
              <a:solidFill>
                <a:srgbClr val="489A6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pc="-6" dirty="0" smtClean="0">
                <a:solidFill>
                  <a:srgbClr val="489A6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amless bid opening done in couple of minutes</a:t>
            </a:r>
            <a:endParaRPr lang="en-US" spc="-6" dirty="0">
              <a:solidFill>
                <a:srgbClr val="489A6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2" name="OTLSHAPE_M_7f583de0854a4cacb89837f3a379bb4a_Date"/>
          <p:cNvSpPr txBox="1"/>
          <p:nvPr>
            <p:custDataLst>
              <p:tags r:id="rId16"/>
            </p:custDataLst>
          </p:nvPr>
        </p:nvSpPr>
        <p:spPr>
          <a:xfrm>
            <a:off x="10222850" y="5161920"/>
            <a:ext cx="1037441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400" spc="-6" dirty="0" smtClean="0">
                <a:solidFill>
                  <a:srgbClr val="7F7F7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anuary 2018</a:t>
            </a:r>
            <a:endParaRPr lang="en-US" sz="1400" spc="-6" dirty="0">
              <a:solidFill>
                <a:srgbClr val="7F7F7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3" name="OTLSHAPE_M_7f583de0854a4cacb89837f3a379bb4a_Shape"/>
          <p:cNvSpPr/>
          <p:nvPr>
            <p:custDataLst>
              <p:tags r:id="rId17"/>
            </p:custDataLst>
          </p:nvPr>
        </p:nvSpPr>
        <p:spPr>
          <a:xfrm>
            <a:off x="9873625" y="4396630"/>
            <a:ext cx="424241" cy="3302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62B57B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4" name="OTLSHAPE_M_a54bc827b05146d18b559f618723e2b4_Shape"/>
          <p:cNvSpPr/>
          <p:nvPr>
            <p:custDataLst>
              <p:tags r:id="rId18"/>
            </p:custDataLst>
          </p:nvPr>
        </p:nvSpPr>
        <p:spPr>
          <a:xfrm>
            <a:off x="1227744" y="3840819"/>
            <a:ext cx="318181" cy="254000"/>
          </a:xfrm>
          <a:prstGeom prst="teardrop">
            <a:avLst/>
          </a:prstGeom>
          <a:solidFill>
            <a:srgbClr val="087FC3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5" name="OTLSHAPE_M_a54bc827b05146d18b559f618723e2b4_Shape"/>
          <p:cNvSpPr/>
          <p:nvPr>
            <p:custDataLst>
              <p:tags r:id="rId19"/>
            </p:custDataLst>
          </p:nvPr>
        </p:nvSpPr>
        <p:spPr>
          <a:xfrm>
            <a:off x="1449849" y="3916786"/>
            <a:ext cx="318181" cy="254000"/>
          </a:xfrm>
          <a:prstGeom prst="teardrop">
            <a:avLst/>
          </a:prstGeom>
          <a:solidFill>
            <a:srgbClr val="92D050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2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6" name="OTLSHAPE_M_93afb554552a4221a5380f7919409aa7_Shape"/>
          <p:cNvSpPr/>
          <p:nvPr>
            <p:custDataLst>
              <p:tags r:id="rId20"/>
            </p:custDataLst>
          </p:nvPr>
        </p:nvSpPr>
        <p:spPr>
          <a:xfrm flipV="1">
            <a:off x="3254394" y="4377342"/>
            <a:ext cx="318181" cy="262800"/>
          </a:xfrm>
          <a:prstGeom prst="teardrop">
            <a:avLst/>
          </a:prstGeom>
          <a:solidFill>
            <a:srgbClr val="DC5924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7" name="OTLSHAPE_M_93afb554552a4221a5380f7919409aa7_Connector1"/>
          <p:cNvCxnSpPr/>
          <p:nvPr>
            <p:custDataLst>
              <p:tags r:id="rId21"/>
            </p:custDataLst>
          </p:nvPr>
        </p:nvCxnSpPr>
        <p:spPr>
          <a:xfrm>
            <a:off x="3439241" y="4640142"/>
            <a:ext cx="0" cy="504000"/>
          </a:xfrm>
          <a:prstGeom prst="line">
            <a:avLst/>
          </a:prstGeom>
          <a:ln w="9525" cap="flat" cmpd="sng" algn="ctr">
            <a:solidFill>
              <a:srgbClr val="DC592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OTLSHAPE_M_a58f29487c0343c08abcf41913e40cae_Shape"/>
          <p:cNvSpPr/>
          <p:nvPr>
            <p:custDataLst>
              <p:tags r:id="rId22"/>
            </p:custDataLst>
          </p:nvPr>
        </p:nvSpPr>
        <p:spPr>
          <a:xfrm rot="16200000" flipV="1">
            <a:off x="3209009" y="4929213"/>
            <a:ext cx="165600" cy="231582"/>
          </a:xfrm>
          <a:prstGeom prst="flowChartMerge">
            <a:avLst/>
          </a:prstGeom>
          <a:solidFill>
            <a:srgbClr val="F36F21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36F2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9" name="OTLSHAPE_M_93afb554552a4221a5380f7919409aa7_Title"/>
          <p:cNvSpPr txBox="1"/>
          <p:nvPr>
            <p:custDataLst>
              <p:tags r:id="rId23"/>
            </p:custDataLst>
          </p:nvPr>
        </p:nvSpPr>
        <p:spPr>
          <a:xfrm>
            <a:off x="-99039" y="4675672"/>
            <a:ext cx="3275450" cy="73866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2400" spc="-6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ll Major Locations covered</a:t>
            </a:r>
            <a:endParaRPr lang="en-US" sz="2400" spc="-6" dirty="0">
              <a:solidFill>
                <a:schemeClr val="accent5">
                  <a:lumMod val="40000"/>
                  <a:lumOff val="6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0" name="OTLSHAPE_M_93afb554552a4221a5380f7919409aa7_Date"/>
          <p:cNvSpPr txBox="1"/>
          <p:nvPr>
            <p:custDataLst>
              <p:tags r:id="rId24"/>
            </p:custDataLst>
          </p:nvPr>
        </p:nvSpPr>
        <p:spPr>
          <a:xfrm>
            <a:off x="1365480" y="5397401"/>
            <a:ext cx="1768556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1400" spc="-6" dirty="0" smtClean="0">
                <a:solidFill>
                  <a:srgbClr val="7F7F7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cember 2012</a:t>
            </a:r>
            <a:endParaRPr lang="en-US" sz="1400" spc="-6" dirty="0">
              <a:solidFill>
                <a:srgbClr val="7F7F7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1" name="OTLSHAPE_M_a58f29487c0343c08abcf41913e40cae_Shape"/>
          <p:cNvSpPr/>
          <p:nvPr>
            <p:custDataLst>
              <p:tags r:id="rId25"/>
            </p:custDataLst>
          </p:nvPr>
        </p:nvSpPr>
        <p:spPr>
          <a:xfrm rot="16200000">
            <a:off x="7200843" y="1568420"/>
            <a:ext cx="165100" cy="229797"/>
          </a:xfrm>
          <a:prstGeom prst="flowChartMerge">
            <a:avLst/>
          </a:prstGeom>
          <a:solidFill>
            <a:schemeClr val="accent3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36F2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2" name="OTLSHAPE_M_93afb554552a4221a5380f7919409aa7_Title"/>
          <p:cNvSpPr txBox="1"/>
          <p:nvPr>
            <p:custDataLst>
              <p:tags r:id="rId26"/>
            </p:custDataLst>
          </p:nvPr>
        </p:nvSpPr>
        <p:spPr>
          <a:xfrm>
            <a:off x="7398292" y="1356305"/>
            <a:ext cx="3137071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2400" spc="-6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line EMD</a:t>
            </a:r>
            <a:endParaRPr lang="en-US" sz="2400" spc="-6" dirty="0">
              <a:solidFill>
                <a:schemeClr val="accent5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3" name="OTLSHAPE_M_93afb554552a4221a5380f7919409aa7_Date"/>
          <p:cNvSpPr txBox="1"/>
          <p:nvPr>
            <p:custDataLst>
              <p:tags r:id="rId27"/>
            </p:custDataLst>
          </p:nvPr>
        </p:nvSpPr>
        <p:spPr>
          <a:xfrm>
            <a:off x="7380419" y="1742900"/>
            <a:ext cx="1768556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400" spc="-6" dirty="0" smtClean="0">
                <a:latin typeface="Segoe UI" panose="020B0502040204020203" pitchFamily="34" charset="0"/>
                <a:cs typeface="Segoe UI" panose="020B0502040204020203" pitchFamily="34" charset="0"/>
              </a:rPr>
              <a:t>November 2015</a:t>
            </a:r>
            <a:endParaRPr lang="en-US" sz="1400" spc="-6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4" name="OTLSHAPE_M_93afb554552a4221a5380f7919409aa7_Connector1"/>
          <p:cNvCxnSpPr/>
          <p:nvPr>
            <p:custDataLst>
              <p:tags r:id="rId28"/>
            </p:custDataLst>
          </p:nvPr>
        </p:nvCxnSpPr>
        <p:spPr>
          <a:xfrm flipH="1">
            <a:off x="9530532" y="2028597"/>
            <a:ext cx="0" cy="1944000"/>
          </a:xfrm>
          <a:prstGeom prst="line">
            <a:avLst/>
          </a:prstGeom>
          <a:ln w="9525" cap="flat" cmpd="sng" algn="ctr">
            <a:solidFill>
              <a:srgbClr val="D3D3D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OTLSHAPE_M_a58f29487c0343c08abcf41913e40cae_Shape"/>
          <p:cNvSpPr/>
          <p:nvPr>
            <p:custDataLst>
              <p:tags r:id="rId29"/>
            </p:custDataLst>
          </p:nvPr>
        </p:nvSpPr>
        <p:spPr>
          <a:xfrm rot="16200000">
            <a:off x="9615071" y="1973146"/>
            <a:ext cx="153794" cy="229061"/>
          </a:xfrm>
          <a:prstGeom prst="flowChartMerge">
            <a:avLst/>
          </a:prstGeom>
          <a:solidFill>
            <a:srgbClr val="D3D3D3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36F2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6" name="OTLSHAPE_M_93afb554552a4221a5380f7919409aa7_Title"/>
          <p:cNvSpPr txBox="1"/>
          <p:nvPr>
            <p:custDataLst>
              <p:tags r:id="rId30"/>
            </p:custDataLst>
          </p:nvPr>
        </p:nvSpPr>
        <p:spPr>
          <a:xfrm>
            <a:off x="9770928" y="1712647"/>
            <a:ext cx="2165833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2400" spc="-6" dirty="0" smtClean="0">
                <a:solidFill>
                  <a:schemeClr val="accent5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verse Auction</a:t>
            </a:r>
            <a:endParaRPr lang="en-US" sz="2400" spc="-6" dirty="0">
              <a:solidFill>
                <a:schemeClr val="accent5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7" name="OTLSHAPE_M_93afb554552a4221a5380f7919409aa7_Date"/>
          <p:cNvSpPr txBox="1"/>
          <p:nvPr>
            <p:custDataLst>
              <p:tags r:id="rId31"/>
            </p:custDataLst>
          </p:nvPr>
        </p:nvSpPr>
        <p:spPr>
          <a:xfrm>
            <a:off x="9770929" y="2099242"/>
            <a:ext cx="1768556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400" spc="-6" dirty="0" smtClean="0">
                <a:latin typeface="Segoe UI" panose="020B0502040204020203" pitchFamily="34" charset="0"/>
                <a:cs typeface="Segoe UI" panose="020B0502040204020203" pitchFamily="34" charset="0"/>
              </a:rPr>
              <a:t>October 2017</a:t>
            </a:r>
            <a:endParaRPr lang="en-US" sz="1400" spc="-6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OTLSHAPE_M_93afb554552a4221a5380f7919409aa7_Shape"/>
          <p:cNvSpPr/>
          <p:nvPr>
            <p:custDataLst>
              <p:tags r:id="rId32"/>
            </p:custDataLst>
          </p:nvPr>
        </p:nvSpPr>
        <p:spPr>
          <a:xfrm flipV="1">
            <a:off x="7927695" y="4399102"/>
            <a:ext cx="318181" cy="262800"/>
          </a:xfrm>
          <a:prstGeom prst="teardrop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49" name="OTLSHAPE_M_93afb554552a4221a5380f7919409aa7_Connector1"/>
          <p:cNvCxnSpPr/>
          <p:nvPr>
            <p:custDataLst>
              <p:tags r:id="rId33"/>
            </p:custDataLst>
          </p:nvPr>
        </p:nvCxnSpPr>
        <p:spPr>
          <a:xfrm>
            <a:off x="8112542" y="4661902"/>
            <a:ext cx="0" cy="1087760"/>
          </a:xfrm>
          <a:prstGeom prst="line">
            <a:avLst/>
          </a:prstGeom>
          <a:ln w="9525" cap="flat" cmpd="sng" algn="ctr">
            <a:solidFill>
              <a:schemeClr val="accent4">
                <a:lumMod val="40000"/>
                <a:lumOff val="6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OTLSHAPE_M_a58f29487c0343c08abcf41913e40cae_Shape"/>
          <p:cNvSpPr/>
          <p:nvPr>
            <p:custDataLst>
              <p:tags r:id="rId34"/>
            </p:custDataLst>
          </p:nvPr>
        </p:nvSpPr>
        <p:spPr>
          <a:xfrm rot="16200000" flipV="1">
            <a:off x="7877339" y="5551071"/>
            <a:ext cx="165600" cy="231582"/>
          </a:xfrm>
          <a:prstGeom prst="flowChartMerge">
            <a:avLst/>
          </a:prstGeom>
          <a:solidFill>
            <a:schemeClr val="accent4">
              <a:lumMod val="40000"/>
              <a:lumOff val="60000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36F2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1" name="OTLSHAPE_M_93afb554552a4221a5380f7919409aa7_Title"/>
          <p:cNvSpPr txBox="1"/>
          <p:nvPr>
            <p:custDataLst>
              <p:tags r:id="rId35"/>
            </p:custDataLst>
          </p:nvPr>
        </p:nvSpPr>
        <p:spPr>
          <a:xfrm>
            <a:off x="3569168" y="5313025"/>
            <a:ext cx="4273186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2400" spc="-6" dirty="0" smtClean="0">
                <a:solidFill>
                  <a:schemeClr val="accent4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-wise Technical Evaluation</a:t>
            </a:r>
            <a:endParaRPr lang="en-US" sz="2400" spc="-6" dirty="0">
              <a:solidFill>
                <a:schemeClr val="accent4">
                  <a:lumMod val="40000"/>
                  <a:lumOff val="6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2" name="OTLSHAPE_M_93afb554552a4221a5380f7919409aa7_Date"/>
          <p:cNvSpPr txBox="1"/>
          <p:nvPr>
            <p:custDataLst>
              <p:tags r:id="rId36"/>
            </p:custDataLst>
          </p:nvPr>
        </p:nvSpPr>
        <p:spPr>
          <a:xfrm>
            <a:off x="6073797" y="5699620"/>
            <a:ext cx="1768556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1400" spc="-6" dirty="0" smtClean="0">
                <a:solidFill>
                  <a:schemeClr val="tx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st 2016</a:t>
            </a:r>
            <a:endParaRPr lang="en-US" sz="1400" spc="-6" dirty="0">
              <a:solidFill>
                <a:schemeClr val="tx1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3" name="OTLSHAPE_M_52743de8bb6d4044896f473898fe9da7_Connector1"/>
          <p:cNvCxnSpPr/>
          <p:nvPr>
            <p:custDataLst>
              <p:tags r:id="rId37"/>
            </p:custDataLst>
          </p:nvPr>
        </p:nvCxnSpPr>
        <p:spPr>
          <a:xfrm>
            <a:off x="11200322" y="3326062"/>
            <a:ext cx="0" cy="720000"/>
          </a:xfrm>
          <a:prstGeom prst="line">
            <a:avLst/>
          </a:prstGeom>
          <a:ln>
            <a:solidFill>
              <a:srgbClr val="E25357"/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54" name="OTLSHAPE_M_52743de8bb6d4044896f473898fe9da7_Shape"/>
          <p:cNvSpPr/>
          <p:nvPr>
            <p:custDataLst>
              <p:tags r:id="rId38"/>
            </p:custDataLst>
          </p:nvPr>
        </p:nvSpPr>
        <p:spPr>
          <a:xfrm rot="16200000" flipV="1">
            <a:off x="10976005" y="3286560"/>
            <a:ext cx="175915" cy="202406"/>
          </a:xfrm>
          <a:prstGeom prst="flowChartMerge">
            <a:avLst/>
          </a:prstGeom>
          <a:solidFill>
            <a:srgbClr val="D44C4F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5" name="OTLSHAPE_M_a54bc827b05146d18b559f618723e2b4_Shape"/>
          <p:cNvSpPr/>
          <p:nvPr>
            <p:custDataLst>
              <p:tags r:id="rId39"/>
            </p:custDataLst>
          </p:nvPr>
        </p:nvSpPr>
        <p:spPr>
          <a:xfrm>
            <a:off x="11045344" y="3911818"/>
            <a:ext cx="318181" cy="254000"/>
          </a:xfrm>
          <a:prstGeom prst="teardrop">
            <a:avLst/>
          </a:prstGeom>
          <a:solidFill>
            <a:srgbClr val="D44C4F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2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6" name="OTLSHAPE_M_52743de8bb6d4044896f473898fe9da7_Title"/>
          <p:cNvSpPr txBox="1"/>
          <p:nvPr>
            <p:custDataLst>
              <p:tags r:id="rId40"/>
            </p:custDataLst>
          </p:nvPr>
        </p:nvSpPr>
        <p:spPr>
          <a:xfrm>
            <a:off x="9806499" y="2528113"/>
            <a:ext cx="1949147" cy="110799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2400" spc="-6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DA Based &amp;</a:t>
            </a:r>
          </a:p>
          <a:p>
            <a:r>
              <a:rPr lang="en-US" sz="2400" spc="-6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wo-Stage Tenders</a:t>
            </a:r>
            <a:endParaRPr lang="en-US" sz="2400" spc="-6" dirty="0">
              <a:solidFill>
                <a:schemeClr val="accent5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7" name="OTLSHAPE_M_93afb554552a4221a5380f7919409aa7_Date"/>
          <p:cNvSpPr txBox="1"/>
          <p:nvPr>
            <p:custDataLst>
              <p:tags r:id="rId41"/>
            </p:custDataLst>
          </p:nvPr>
        </p:nvSpPr>
        <p:spPr>
          <a:xfrm>
            <a:off x="9793946" y="3622172"/>
            <a:ext cx="1332000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r"/>
            <a:r>
              <a:rPr lang="en-US" sz="1400" spc="-6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ecember  2018</a:t>
            </a:r>
            <a:endParaRPr lang="en-US" sz="1400" spc="-6" dirty="0">
              <a:solidFill>
                <a:schemeClr val="tx1">
                  <a:lumMod val="8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58" name="OTLSHAPE_M_52743de8bb6d4044896f473898fe9da7_Connector1"/>
          <p:cNvCxnSpPr/>
          <p:nvPr>
            <p:custDataLst>
              <p:tags r:id="rId42"/>
            </p:custDataLst>
          </p:nvPr>
        </p:nvCxnSpPr>
        <p:spPr>
          <a:xfrm>
            <a:off x="7923582" y="2464186"/>
            <a:ext cx="0" cy="1607312"/>
          </a:xfrm>
          <a:prstGeom prst="line">
            <a:avLst/>
          </a:prstGeom>
          <a:ln w="9525" cap="flat" cmpd="sng" algn="ctr">
            <a:solidFill>
              <a:srgbClr val="9CDC57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OTLSHAPE_M_52743de8bb6d4044896f473898fe9da7_Title"/>
          <p:cNvSpPr txBox="1"/>
          <p:nvPr>
            <p:custDataLst>
              <p:tags r:id="rId43"/>
            </p:custDataLst>
          </p:nvPr>
        </p:nvSpPr>
        <p:spPr>
          <a:xfrm>
            <a:off x="7317796" y="2132908"/>
            <a:ext cx="2421392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2400" spc="-6" dirty="0" smtClean="0">
                <a:solidFill>
                  <a:schemeClr val="accent2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cess Manual</a:t>
            </a:r>
            <a:endParaRPr lang="en-US" sz="2400" spc="-6" dirty="0">
              <a:solidFill>
                <a:schemeClr val="accent2">
                  <a:lumMod val="40000"/>
                  <a:lumOff val="6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0" name="OTLSHAPE_M_52743de8bb6d4044896f473898fe9da7_Date"/>
          <p:cNvSpPr txBox="1"/>
          <p:nvPr>
            <p:custDataLst>
              <p:tags r:id="rId44"/>
            </p:custDataLst>
          </p:nvPr>
        </p:nvSpPr>
        <p:spPr>
          <a:xfrm>
            <a:off x="8258479" y="2456981"/>
            <a:ext cx="794775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1400" spc="-8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June 2016</a:t>
            </a:r>
            <a:endParaRPr lang="en-US" sz="1400" spc="-8" dirty="0">
              <a:solidFill>
                <a:schemeClr val="tx1">
                  <a:lumMod val="8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1" name="OTLSHAPE_M_52743de8bb6d4044896f473898fe9da7_Shape"/>
          <p:cNvSpPr/>
          <p:nvPr>
            <p:custDataLst>
              <p:tags r:id="rId45"/>
            </p:custDataLst>
          </p:nvPr>
        </p:nvSpPr>
        <p:spPr>
          <a:xfrm rot="16200000">
            <a:off x="7987129" y="2454106"/>
            <a:ext cx="165100" cy="229797"/>
          </a:xfrm>
          <a:prstGeom prst="flowChartMerge">
            <a:avLst/>
          </a:prstGeom>
          <a:solidFill>
            <a:srgbClr val="92D050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2" name="OTLSHAPE_M_a54bc827b05146d18b559f618723e2b4_Shape"/>
          <p:cNvSpPr/>
          <p:nvPr>
            <p:custDataLst>
              <p:tags r:id="rId46"/>
            </p:custDataLst>
          </p:nvPr>
        </p:nvSpPr>
        <p:spPr>
          <a:xfrm>
            <a:off x="7768604" y="3885966"/>
            <a:ext cx="318181" cy="254000"/>
          </a:xfrm>
          <a:prstGeom prst="teardrop">
            <a:avLst/>
          </a:prstGeom>
          <a:solidFill>
            <a:srgbClr val="92D050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2">
                  <a:lumMod val="60000"/>
                  <a:lumOff val="4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3" name="OTLSHAPE_M_7f583de0854a4cacb89837f3a379bb4a_Shape"/>
          <p:cNvSpPr/>
          <p:nvPr>
            <p:custDataLst>
              <p:tags r:id="rId47"/>
            </p:custDataLst>
          </p:nvPr>
        </p:nvSpPr>
        <p:spPr>
          <a:xfrm>
            <a:off x="5418798" y="3837329"/>
            <a:ext cx="424241" cy="330200"/>
          </a:xfrm>
          <a:prstGeom prst="star5">
            <a:avLst>
              <a:gd name="adj" fmla="val 25000"/>
              <a:gd name="hf" fmla="val 105146"/>
              <a:gd name="vf" fmla="val 110557"/>
            </a:avLst>
          </a:prstGeom>
          <a:solidFill>
            <a:srgbClr val="62B57B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91240B29-F687-4F45-9708-019B960494DF}">
              <a14:hiddenLine xmlns:a14="http://schemas.microsoft.com/office/drawing/2010/main" xmlns="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>
                    <a:scrgbClr r="0" g="0" b="0">
                      <a:alpha val="50000"/>
                    </a:sc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4" name="OTLSHAPE_M_7f583de0854a4cacb89837f3a379bb4a_Title"/>
          <p:cNvSpPr txBox="1"/>
          <p:nvPr>
            <p:custDataLst>
              <p:tags r:id="rId48"/>
            </p:custDataLst>
          </p:nvPr>
        </p:nvSpPr>
        <p:spPr>
          <a:xfrm>
            <a:off x="2589320" y="3487878"/>
            <a:ext cx="4488078" cy="36933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en-US" sz="2400" spc="-6" dirty="0" smtClean="0">
                <a:solidFill>
                  <a:srgbClr val="489A6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55 bids received in single tender</a:t>
            </a:r>
          </a:p>
        </p:txBody>
      </p:sp>
      <p:sp>
        <p:nvSpPr>
          <p:cNvPr id="165" name="OTLSHAPE_M_7f583de0854a4cacb89837f3a379bb4a_Date"/>
          <p:cNvSpPr txBox="1"/>
          <p:nvPr>
            <p:custDataLst>
              <p:tags r:id="rId49"/>
            </p:custDataLst>
          </p:nvPr>
        </p:nvSpPr>
        <p:spPr>
          <a:xfrm>
            <a:off x="4210780" y="3821585"/>
            <a:ext cx="1037441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1400" spc="-6" dirty="0" smtClean="0">
                <a:solidFill>
                  <a:srgbClr val="7F7F7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gust 2014</a:t>
            </a:r>
            <a:endParaRPr lang="en-US" sz="1400" spc="-6" dirty="0">
              <a:solidFill>
                <a:srgbClr val="7F7F7F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9219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 smtClean="0">
                <a:solidFill>
                  <a:prstClr val="white"/>
                </a:solidFill>
              </a:rPr>
              <a:t>Critical Success Factors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  <p:sp>
        <p:nvSpPr>
          <p:cNvPr id="27" name="Freeform 26"/>
          <p:cNvSpPr>
            <a:spLocks/>
          </p:cNvSpPr>
          <p:nvPr/>
        </p:nvSpPr>
        <p:spPr bwMode="auto">
          <a:xfrm>
            <a:off x="6265271" y="4276659"/>
            <a:ext cx="1297000" cy="701501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auto">
          <a:xfrm flipH="1">
            <a:off x="4640357" y="4276659"/>
            <a:ext cx="1297000" cy="701501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4" name="Freeform 33"/>
          <p:cNvSpPr>
            <a:spLocks/>
          </p:cNvSpPr>
          <p:nvPr/>
        </p:nvSpPr>
        <p:spPr bwMode="auto">
          <a:xfrm>
            <a:off x="9036167" y="3013959"/>
            <a:ext cx="747913" cy="404520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5" name="Freeform 34"/>
          <p:cNvSpPr>
            <a:spLocks/>
          </p:cNvSpPr>
          <p:nvPr/>
        </p:nvSpPr>
        <p:spPr bwMode="auto">
          <a:xfrm>
            <a:off x="2429692" y="3013959"/>
            <a:ext cx="747913" cy="404520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6" name="Freeform 23"/>
          <p:cNvSpPr>
            <a:spLocks noEditPoints="1"/>
          </p:cNvSpPr>
          <p:nvPr/>
        </p:nvSpPr>
        <p:spPr bwMode="auto">
          <a:xfrm>
            <a:off x="7562278" y="1470884"/>
            <a:ext cx="750792" cy="404134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7" name="Freeform 23"/>
          <p:cNvSpPr>
            <a:spLocks noEditPoints="1"/>
          </p:cNvSpPr>
          <p:nvPr/>
        </p:nvSpPr>
        <p:spPr bwMode="auto">
          <a:xfrm>
            <a:off x="3779652" y="1470884"/>
            <a:ext cx="750792" cy="404134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8" name="Freeform 23"/>
          <p:cNvSpPr>
            <a:spLocks noEditPoints="1"/>
          </p:cNvSpPr>
          <p:nvPr/>
        </p:nvSpPr>
        <p:spPr bwMode="auto">
          <a:xfrm>
            <a:off x="4804853" y="2495921"/>
            <a:ext cx="1574033" cy="847268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39" name="Freeform 23"/>
          <p:cNvSpPr>
            <a:spLocks noEditPoints="1"/>
          </p:cNvSpPr>
          <p:nvPr/>
        </p:nvSpPr>
        <p:spPr bwMode="auto">
          <a:xfrm>
            <a:off x="6392472" y="2455184"/>
            <a:ext cx="862697" cy="464372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0" name="Freeform 23"/>
          <p:cNvSpPr>
            <a:spLocks noEditPoints="1"/>
          </p:cNvSpPr>
          <p:nvPr/>
        </p:nvSpPr>
        <p:spPr bwMode="auto">
          <a:xfrm>
            <a:off x="5399969" y="3313206"/>
            <a:ext cx="1789877" cy="963452"/>
          </a:xfrm>
          <a:custGeom>
            <a:avLst/>
            <a:gdLst>
              <a:gd name="T0" fmla="*/ 274 w 274"/>
              <a:gd name="T1" fmla="*/ 155 h 275"/>
              <a:gd name="T2" fmla="*/ 274 w 274"/>
              <a:gd name="T3" fmla="*/ 120 h 275"/>
              <a:gd name="T4" fmla="*/ 247 w 274"/>
              <a:gd name="T5" fmla="*/ 120 h 275"/>
              <a:gd name="T6" fmla="*/ 241 w 274"/>
              <a:gd name="T7" fmla="*/ 97 h 275"/>
              <a:gd name="T8" fmla="*/ 265 w 274"/>
              <a:gd name="T9" fmla="*/ 84 h 275"/>
              <a:gd name="T10" fmla="*/ 247 w 274"/>
              <a:gd name="T11" fmla="*/ 54 h 275"/>
              <a:gd name="T12" fmla="*/ 224 w 274"/>
              <a:gd name="T13" fmla="*/ 67 h 275"/>
              <a:gd name="T14" fmla="*/ 207 w 274"/>
              <a:gd name="T15" fmla="*/ 51 h 275"/>
              <a:gd name="T16" fmla="*/ 221 w 274"/>
              <a:gd name="T17" fmla="*/ 27 h 275"/>
              <a:gd name="T18" fmla="*/ 191 w 274"/>
              <a:gd name="T19" fmla="*/ 10 h 275"/>
              <a:gd name="T20" fmla="*/ 177 w 274"/>
              <a:gd name="T21" fmla="*/ 34 h 275"/>
              <a:gd name="T22" fmla="*/ 154 w 274"/>
              <a:gd name="T23" fmla="*/ 27 h 275"/>
              <a:gd name="T24" fmla="*/ 154 w 274"/>
              <a:gd name="T25" fmla="*/ 0 h 275"/>
              <a:gd name="T26" fmla="*/ 120 w 274"/>
              <a:gd name="T27" fmla="*/ 0 h 275"/>
              <a:gd name="T28" fmla="*/ 120 w 274"/>
              <a:gd name="T29" fmla="*/ 27 h 275"/>
              <a:gd name="T30" fmla="*/ 97 w 274"/>
              <a:gd name="T31" fmla="*/ 34 h 275"/>
              <a:gd name="T32" fmla="*/ 83 w 274"/>
              <a:gd name="T33" fmla="*/ 10 h 275"/>
              <a:gd name="T34" fmla="*/ 54 w 274"/>
              <a:gd name="T35" fmla="*/ 27 h 275"/>
              <a:gd name="T36" fmla="*/ 67 w 274"/>
              <a:gd name="T37" fmla="*/ 51 h 275"/>
              <a:gd name="T38" fmla="*/ 50 w 274"/>
              <a:gd name="T39" fmla="*/ 67 h 275"/>
              <a:gd name="T40" fmla="*/ 27 w 274"/>
              <a:gd name="T41" fmla="*/ 54 h 275"/>
              <a:gd name="T42" fmla="*/ 10 w 274"/>
              <a:gd name="T43" fmla="*/ 84 h 275"/>
              <a:gd name="T44" fmla="*/ 33 w 274"/>
              <a:gd name="T45" fmla="*/ 97 h 275"/>
              <a:gd name="T46" fmla="*/ 27 w 274"/>
              <a:gd name="T47" fmla="*/ 120 h 275"/>
              <a:gd name="T48" fmla="*/ 0 w 274"/>
              <a:gd name="T49" fmla="*/ 120 h 275"/>
              <a:gd name="T50" fmla="*/ 0 w 274"/>
              <a:gd name="T51" fmla="*/ 155 h 275"/>
              <a:gd name="T52" fmla="*/ 27 w 274"/>
              <a:gd name="T53" fmla="*/ 155 h 275"/>
              <a:gd name="T54" fmla="*/ 33 w 274"/>
              <a:gd name="T55" fmla="*/ 178 h 275"/>
              <a:gd name="T56" fmla="*/ 10 w 274"/>
              <a:gd name="T57" fmla="*/ 191 h 275"/>
              <a:gd name="T58" fmla="*/ 27 w 274"/>
              <a:gd name="T59" fmla="*/ 221 h 275"/>
              <a:gd name="T60" fmla="*/ 50 w 274"/>
              <a:gd name="T61" fmla="*/ 207 h 275"/>
              <a:gd name="T62" fmla="*/ 67 w 274"/>
              <a:gd name="T63" fmla="*/ 224 h 275"/>
              <a:gd name="T64" fmla="*/ 54 w 274"/>
              <a:gd name="T65" fmla="*/ 248 h 275"/>
              <a:gd name="T66" fmla="*/ 83 w 274"/>
              <a:gd name="T67" fmla="*/ 265 h 275"/>
              <a:gd name="T68" fmla="*/ 97 w 274"/>
              <a:gd name="T69" fmla="*/ 241 h 275"/>
              <a:gd name="T70" fmla="*/ 120 w 274"/>
              <a:gd name="T71" fmla="*/ 247 h 275"/>
              <a:gd name="T72" fmla="*/ 120 w 274"/>
              <a:gd name="T73" fmla="*/ 275 h 275"/>
              <a:gd name="T74" fmla="*/ 154 w 274"/>
              <a:gd name="T75" fmla="*/ 275 h 275"/>
              <a:gd name="T76" fmla="*/ 154 w 274"/>
              <a:gd name="T77" fmla="*/ 247 h 275"/>
              <a:gd name="T78" fmla="*/ 177 w 274"/>
              <a:gd name="T79" fmla="*/ 241 h 275"/>
              <a:gd name="T80" fmla="*/ 191 w 274"/>
              <a:gd name="T81" fmla="*/ 265 h 275"/>
              <a:gd name="T82" fmla="*/ 221 w 274"/>
              <a:gd name="T83" fmla="*/ 248 h 275"/>
              <a:gd name="T84" fmla="*/ 207 w 274"/>
              <a:gd name="T85" fmla="*/ 224 h 275"/>
              <a:gd name="T86" fmla="*/ 224 w 274"/>
              <a:gd name="T87" fmla="*/ 207 h 275"/>
              <a:gd name="T88" fmla="*/ 247 w 274"/>
              <a:gd name="T89" fmla="*/ 221 h 275"/>
              <a:gd name="T90" fmla="*/ 265 w 274"/>
              <a:gd name="T91" fmla="*/ 191 h 275"/>
              <a:gd name="T92" fmla="*/ 241 w 274"/>
              <a:gd name="T93" fmla="*/ 178 h 275"/>
              <a:gd name="T94" fmla="*/ 247 w 274"/>
              <a:gd name="T95" fmla="*/ 155 h 275"/>
              <a:gd name="T96" fmla="*/ 274 w 274"/>
              <a:gd name="T97" fmla="*/ 155 h 275"/>
              <a:gd name="T98" fmla="*/ 137 w 274"/>
              <a:gd name="T99" fmla="*/ 215 h 275"/>
              <a:gd name="T100" fmla="*/ 60 w 274"/>
              <a:gd name="T101" fmla="*/ 137 h 275"/>
              <a:gd name="T102" fmla="*/ 137 w 274"/>
              <a:gd name="T103" fmla="*/ 60 h 275"/>
              <a:gd name="T104" fmla="*/ 214 w 274"/>
              <a:gd name="T105" fmla="*/ 137 h 275"/>
              <a:gd name="T106" fmla="*/ 137 w 274"/>
              <a:gd name="T107" fmla="*/ 215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74" h="275">
                <a:moveTo>
                  <a:pt x="274" y="155"/>
                </a:moveTo>
                <a:cubicBezTo>
                  <a:pt x="274" y="120"/>
                  <a:pt x="274" y="120"/>
                  <a:pt x="274" y="120"/>
                </a:cubicBezTo>
                <a:cubicBezTo>
                  <a:pt x="247" y="120"/>
                  <a:pt x="247" y="120"/>
                  <a:pt x="247" y="120"/>
                </a:cubicBezTo>
                <a:cubicBezTo>
                  <a:pt x="246" y="112"/>
                  <a:pt x="244" y="105"/>
                  <a:pt x="241" y="97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47" y="54"/>
                  <a:pt x="247" y="54"/>
                  <a:pt x="247" y="54"/>
                </a:cubicBezTo>
                <a:cubicBezTo>
                  <a:pt x="224" y="67"/>
                  <a:pt x="224" y="67"/>
                  <a:pt x="224" y="67"/>
                </a:cubicBezTo>
                <a:cubicBezTo>
                  <a:pt x="219" y="61"/>
                  <a:pt x="213" y="56"/>
                  <a:pt x="207" y="51"/>
                </a:cubicBezTo>
                <a:cubicBezTo>
                  <a:pt x="221" y="27"/>
                  <a:pt x="221" y="27"/>
                  <a:pt x="221" y="27"/>
                </a:cubicBezTo>
                <a:cubicBezTo>
                  <a:pt x="191" y="10"/>
                  <a:pt x="191" y="10"/>
                  <a:pt x="191" y="10"/>
                </a:cubicBezTo>
                <a:cubicBezTo>
                  <a:pt x="177" y="34"/>
                  <a:pt x="177" y="34"/>
                  <a:pt x="177" y="34"/>
                </a:cubicBezTo>
                <a:cubicBezTo>
                  <a:pt x="170" y="31"/>
                  <a:pt x="162" y="29"/>
                  <a:pt x="154" y="27"/>
                </a:cubicBezTo>
                <a:cubicBezTo>
                  <a:pt x="154" y="0"/>
                  <a:pt x="154" y="0"/>
                  <a:pt x="154" y="0"/>
                </a:cubicBezTo>
                <a:cubicBezTo>
                  <a:pt x="120" y="0"/>
                  <a:pt x="120" y="0"/>
                  <a:pt x="120" y="0"/>
                </a:cubicBezTo>
                <a:cubicBezTo>
                  <a:pt x="120" y="27"/>
                  <a:pt x="120" y="27"/>
                  <a:pt x="120" y="27"/>
                </a:cubicBezTo>
                <a:cubicBezTo>
                  <a:pt x="112" y="29"/>
                  <a:pt x="104" y="31"/>
                  <a:pt x="97" y="34"/>
                </a:cubicBezTo>
                <a:cubicBezTo>
                  <a:pt x="83" y="10"/>
                  <a:pt x="83" y="10"/>
                  <a:pt x="83" y="10"/>
                </a:cubicBezTo>
                <a:cubicBezTo>
                  <a:pt x="54" y="27"/>
                  <a:pt x="54" y="27"/>
                  <a:pt x="54" y="27"/>
                </a:cubicBezTo>
                <a:cubicBezTo>
                  <a:pt x="67" y="51"/>
                  <a:pt x="67" y="51"/>
                  <a:pt x="67" y="51"/>
                </a:cubicBezTo>
                <a:cubicBezTo>
                  <a:pt x="61" y="56"/>
                  <a:pt x="55" y="61"/>
                  <a:pt x="50" y="67"/>
                </a:cubicBezTo>
                <a:cubicBezTo>
                  <a:pt x="27" y="54"/>
                  <a:pt x="27" y="54"/>
                  <a:pt x="27" y="54"/>
                </a:cubicBezTo>
                <a:cubicBezTo>
                  <a:pt x="10" y="84"/>
                  <a:pt x="10" y="84"/>
                  <a:pt x="10" y="84"/>
                </a:cubicBezTo>
                <a:cubicBezTo>
                  <a:pt x="33" y="97"/>
                  <a:pt x="33" y="97"/>
                  <a:pt x="33" y="97"/>
                </a:cubicBezTo>
                <a:cubicBezTo>
                  <a:pt x="30" y="105"/>
                  <a:pt x="28" y="112"/>
                  <a:pt x="27" y="120"/>
                </a:cubicBezTo>
                <a:cubicBezTo>
                  <a:pt x="0" y="120"/>
                  <a:pt x="0" y="120"/>
                  <a:pt x="0" y="120"/>
                </a:cubicBezTo>
                <a:cubicBezTo>
                  <a:pt x="0" y="155"/>
                  <a:pt x="0" y="155"/>
                  <a:pt x="0" y="155"/>
                </a:cubicBezTo>
                <a:cubicBezTo>
                  <a:pt x="27" y="155"/>
                  <a:pt x="27" y="155"/>
                  <a:pt x="27" y="155"/>
                </a:cubicBezTo>
                <a:cubicBezTo>
                  <a:pt x="28" y="163"/>
                  <a:pt x="30" y="170"/>
                  <a:pt x="33" y="178"/>
                </a:cubicBezTo>
                <a:cubicBezTo>
                  <a:pt x="10" y="191"/>
                  <a:pt x="10" y="191"/>
                  <a:pt x="10" y="191"/>
                </a:cubicBezTo>
                <a:cubicBezTo>
                  <a:pt x="27" y="221"/>
                  <a:pt x="27" y="221"/>
                  <a:pt x="27" y="221"/>
                </a:cubicBezTo>
                <a:cubicBezTo>
                  <a:pt x="50" y="207"/>
                  <a:pt x="50" y="207"/>
                  <a:pt x="50" y="207"/>
                </a:cubicBezTo>
                <a:cubicBezTo>
                  <a:pt x="55" y="214"/>
                  <a:pt x="61" y="219"/>
                  <a:pt x="67" y="224"/>
                </a:cubicBezTo>
                <a:cubicBezTo>
                  <a:pt x="54" y="248"/>
                  <a:pt x="54" y="248"/>
                  <a:pt x="54" y="248"/>
                </a:cubicBezTo>
                <a:cubicBezTo>
                  <a:pt x="83" y="265"/>
                  <a:pt x="83" y="265"/>
                  <a:pt x="83" y="265"/>
                </a:cubicBezTo>
                <a:cubicBezTo>
                  <a:pt x="97" y="241"/>
                  <a:pt x="97" y="241"/>
                  <a:pt x="97" y="241"/>
                </a:cubicBezTo>
                <a:cubicBezTo>
                  <a:pt x="104" y="244"/>
                  <a:pt x="112" y="246"/>
                  <a:pt x="120" y="247"/>
                </a:cubicBezTo>
                <a:cubicBezTo>
                  <a:pt x="120" y="275"/>
                  <a:pt x="120" y="275"/>
                  <a:pt x="120" y="275"/>
                </a:cubicBezTo>
                <a:cubicBezTo>
                  <a:pt x="154" y="275"/>
                  <a:pt x="154" y="275"/>
                  <a:pt x="154" y="27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162" y="246"/>
                  <a:pt x="170" y="244"/>
                  <a:pt x="177" y="241"/>
                </a:cubicBezTo>
                <a:cubicBezTo>
                  <a:pt x="191" y="265"/>
                  <a:pt x="191" y="265"/>
                  <a:pt x="191" y="265"/>
                </a:cubicBezTo>
                <a:cubicBezTo>
                  <a:pt x="221" y="248"/>
                  <a:pt x="221" y="248"/>
                  <a:pt x="221" y="248"/>
                </a:cubicBezTo>
                <a:cubicBezTo>
                  <a:pt x="207" y="224"/>
                  <a:pt x="207" y="224"/>
                  <a:pt x="207" y="224"/>
                </a:cubicBezTo>
                <a:cubicBezTo>
                  <a:pt x="213" y="219"/>
                  <a:pt x="219" y="214"/>
                  <a:pt x="224" y="207"/>
                </a:cubicBezTo>
                <a:cubicBezTo>
                  <a:pt x="247" y="221"/>
                  <a:pt x="247" y="221"/>
                  <a:pt x="247" y="221"/>
                </a:cubicBezTo>
                <a:cubicBezTo>
                  <a:pt x="265" y="191"/>
                  <a:pt x="265" y="191"/>
                  <a:pt x="265" y="191"/>
                </a:cubicBezTo>
                <a:cubicBezTo>
                  <a:pt x="241" y="178"/>
                  <a:pt x="241" y="178"/>
                  <a:pt x="241" y="178"/>
                </a:cubicBezTo>
                <a:cubicBezTo>
                  <a:pt x="244" y="170"/>
                  <a:pt x="246" y="163"/>
                  <a:pt x="247" y="155"/>
                </a:cubicBezTo>
                <a:cubicBezTo>
                  <a:pt x="274" y="155"/>
                  <a:pt x="274" y="155"/>
                  <a:pt x="274" y="155"/>
                </a:cubicBezTo>
                <a:close/>
                <a:moveTo>
                  <a:pt x="137" y="215"/>
                </a:moveTo>
                <a:cubicBezTo>
                  <a:pt x="95" y="215"/>
                  <a:pt x="60" y="180"/>
                  <a:pt x="60" y="137"/>
                </a:cubicBezTo>
                <a:cubicBezTo>
                  <a:pt x="60" y="95"/>
                  <a:pt x="95" y="60"/>
                  <a:pt x="137" y="60"/>
                </a:cubicBezTo>
                <a:cubicBezTo>
                  <a:pt x="180" y="60"/>
                  <a:pt x="214" y="95"/>
                  <a:pt x="214" y="137"/>
                </a:cubicBezTo>
                <a:cubicBezTo>
                  <a:pt x="214" y="180"/>
                  <a:pt x="180" y="215"/>
                  <a:pt x="137" y="215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1" name="Freeform 40"/>
          <p:cNvSpPr>
            <a:spLocks/>
          </p:cNvSpPr>
          <p:nvPr/>
        </p:nvSpPr>
        <p:spPr bwMode="auto">
          <a:xfrm>
            <a:off x="6662136" y="2975852"/>
            <a:ext cx="747913" cy="404520"/>
          </a:xfrm>
          <a:custGeom>
            <a:avLst/>
            <a:gdLst>
              <a:gd name="T0" fmla="*/ 66 w 141"/>
              <a:gd name="T1" fmla="*/ 135 h 142"/>
              <a:gd name="T2" fmla="*/ 54 w 141"/>
              <a:gd name="T3" fmla="*/ 140 h 142"/>
              <a:gd name="T4" fmla="*/ 49 w 141"/>
              <a:gd name="T5" fmla="*/ 132 h 142"/>
              <a:gd name="T6" fmla="*/ 42 w 141"/>
              <a:gd name="T7" fmla="*/ 129 h 142"/>
              <a:gd name="T8" fmla="*/ 29 w 141"/>
              <a:gd name="T9" fmla="*/ 128 h 142"/>
              <a:gd name="T10" fmla="*/ 28 w 141"/>
              <a:gd name="T11" fmla="*/ 119 h 142"/>
              <a:gd name="T12" fmla="*/ 22 w 141"/>
              <a:gd name="T13" fmla="*/ 114 h 142"/>
              <a:gd name="T14" fmla="*/ 10 w 141"/>
              <a:gd name="T15" fmla="*/ 108 h 142"/>
              <a:gd name="T16" fmla="*/ 12 w 141"/>
              <a:gd name="T17" fmla="*/ 99 h 142"/>
              <a:gd name="T18" fmla="*/ 10 w 141"/>
              <a:gd name="T19" fmla="*/ 92 h 142"/>
              <a:gd name="T20" fmla="*/ 1 w 141"/>
              <a:gd name="T21" fmla="*/ 82 h 142"/>
              <a:gd name="T22" fmla="*/ 6 w 141"/>
              <a:gd name="T23" fmla="*/ 75 h 142"/>
              <a:gd name="T24" fmla="*/ 6 w 141"/>
              <a:gd name="T25" fmla="*/ 67 h 142"/>
              <a:gd name="T26" fmla="*/ 1 w 141"/>
              <a:gd name="T27" fmla="*/ 60 h 142"/>
              <a:gd name="T28" fmla="*/ 10 w 141"/>
              <a:gd name="T29" fmla="*/ 50 h 142"/>
              <a:gd name="T30" fmla="*/ 12 w 141"/>
              <a:gd name="T31" fmla="*/ 43 h 142"/>
              <a:gd name="T32" fmla="*/ 10 w 141"/>
              <a:gd name="T33" fmla="*/ 34 h 142"/>
              <a:gd name="T34" fmla="*/ 22 w 141"/>
              <a:gd name="T35" fmla="*/ 29 h 142"/>
              <a:gd name="T36" fmla="*/ 28 w 141"/>
              <a:gd name="T37" fmla="*/ 23 h 142"/>
              <a:gd name="T38" fmla="*/ 29 w 141"/>
              <a:gd name="T39" fmla="*/ 14 h 142"/>
              <a:gd name="T40" fmla="*/ 42 w 141"/>
              <a:gd name="T41" fmla="*/ 13 h 142"/>
              <a:gd name="T42" fmla="*/ 49 w 141"/>
              <a:gd name="T43" fmla="*/ 10 h 142"/>
              <a:gd name="T44" fmla="*/ 54 w 141"/>
              <a:gd name="T45" fmla="*/ 2 h 142"/>
              <a:gd name="T46" fmla="*/ 66 w 141"/>
              <a:gd name="T47" fmla="*/ 7 h 142"/>
              <a:gd name="T48" fmla="*/ 73 w 141"/>
              <a:gd name="T49" fmla="*/ 0 h 142"/>
              <a:gd name="T50" fmla="*/ 79 w 141"/>
              <a:gd name="T51" fmla="*/ 7 h 142"/>
              <a:gd name="T52" fmla="*/ 87 w 141"/>
              <a:gd name="T53" fmla="*/ 9 h 142"/>
              <a:gd name="T54" fmla="*/ 100 w 141"/>
              <a:gd name="T55" fmla="*/ 7 h 142"/>
              <a:gd name="T56" fmla="*/ 103 w 141"/>
              <a:gd name="T57" fmla="*/ 16 h 142"/>
              <a:gd name="T58" fmla="*/ 109 w 141"/>
              <a:gd name="T59" fmla="*/ 20 h 142"/>
              <a:gd name="T60" fmla="*/ 122 w 141"/>
              <a:gd name="T61" fmla="*/ 23 h 142"/>
              <a:gd name="T62" fmla="*/ 122 w 141"/>
              <a:gd name="T63" fmla="*/ 32 h 142"/>
              <a:gd name="T64" fmla="*/ 126 w 141"/>
              <a:gd name="T65" fmla="*/ 39 h 142"/>
              <a:gd name="T66" fmla="*/ 137 w 141"/>
              <a:gd name="T67" fmla="*/ 47 h 142"/>
              <a:gd name="T68" fmla="*/ 133 w 141"/>
              <a:gd name="T69" fmla="*/ 55 h 142"/>
              <a:gd name="T70" fmla="*/ 134 w 141"/>
              <a:gd name="T71" fmla="*/ 62 h 142"/>
              <a:gd name="T72" fmla="*/ 141 w 141"/>
              <a:gd name="T73" fmla="*/ 71 h 142"/>
              <a:gd name="T74" fmla="*/ 134 w 141"/>
              <a:gd name="T75" fmla="*/ 80 h 142"/>
              <a:gd name="T76" fmla="*/ 133 w 141"/>
              <a:gd name="T77" fmla="*/ 87 h 142"/>
              <a:gd name="T78" fmla="*/ 137 w 141"/>
              <a:gd name="T79" fmla="*/ 95 h 142"/>
              <a:gd name="T80" fmla="*/ 126 w 141"/>
              <a:gd name="T81" fmla="*/ 103 h 142"/>
              <a:gd name="T82" fmla="*/ 122 w 141"/>
              <a:gd name="T83" fmla="*/ 110 h 142"/>
              <a:gd name="T84" fmla="*/ 122 w 141"/>
              <a:gd name="T85" fmla="*/ 119 h 142"/>
              <a:gd name="T86" fmla="*/ 109 w 141"/>
              <a:gd name="T87" fmla="*/ 122 h 142"/>
              <a:gd name="T88" fmla="*/ 103 w 141"/>
              <a:gd name="T89" fmla="*/ 126 h 142"/>
              <a:gd name="T90" fmla="*/ 100 w 141"/>
              <a:gd name="T91" fmla="*/ 135 h 142"/>
              <a:gd name="T92" fmla="*/ 87 w 141"/>
              <a:gd name="T93" fmla="*/ 133 h 142"/>
              <a:gd name="T94" fmla="*/ 79 w 141"/>
              <a:gd name="T95" fmla="*/ 135 h 142"/>
              <a:gd name="T96" fmla="*/ 73 w 141"/>
              <a:gd name="T97" fmla="*/ 142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1" h="142">
                <a:moveTo>
                  <a:pt x="70" y="142"/>
                </a:moveTo>
                <a:cubicBezTo>
                  <a:pt x="69" y="142"/>
                  <a:pt x="68" y="142"/>
                  <a:pt x="67" y="142"/>
                </a:cubicBezTo>
                <a:cubicBezTo>
                  <a:pt x="67" y="135"/>
                  <a:pt x="67" y="135"/>
                  <a:pt x="67" y="135"/>
                </a:cubicBezTo>
                <a:cubicBezTo>
                  <a:pt x="66" y="135"/>
                  <a:pt x="66" y="135"/>
                  <a:pt x="66" y="135"/>
                </a:cubicBezTo>
                <a:cubicBezTo>
                  <a:pt x="65" y="135"/>
                  <a:pt x="63" y="135"/>
                  <a:pt x="62" y="135"/>
                </a:cubicBezTo>
                <a:cubicBezTo>
                  <a:pt x="61" y="135"/>
                  <a:pt x="61" y="135"/>
                  <a:pt x="61" y="135"/>
                </a:cubicBezTo>
                <a:cubicBezTo>
                  <a:pt x="60" y="141"/>
                  <a:pt x="60" y="141"/>
                  <a:pt x="60" y="141"/>
                </a:cubicBezTo>
                <a:cubicBezTo>
                  <a:pt x="58" y="141"/>
                  <a:pt x="56" y="140"/>
                  <a:pt x="54" y="140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4" y="133"/>
                  <a:pt x="54" y="133"/>
                  <a:pt x="54" y="133"/>
                </a:cubicBezTo>
                <a:cubicBezTo>
                  <a:pt x="52" y="133"/>
                  <a:pt x="51" y="132"/>
                  <a:pt x="50" y="132"/>
                </a:cubicBezTo>
                <a:cubicBezTo>
                  <a:pt x="49" y="132"/>
                  <a:pt x="49" y="132"/>
                  <a:pt x="49" y="132"/>
                </a:cubicBezTo>
                <a:cubicBezTo>
                  <a:pt x="46" y="137"/>
                  <a:pt x="46" y="137"/>
                  <a:pt x="46" y="137"/>
                </a:cubicBezTo>
                <a:cubicBezTo>
                  <a:pt x="44" y="137"/>
                  <a:pt x="42" y="136"/>
                  <a:pt x="41" y="135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2" y="129"/>
                  <a:pt x="42" y="129"/>
                  <a:pt x="42" y="129"/>
                </a:cubicBezTo>
                <a:cubicBezTo>
                  <a:pt x="41" y="128"/>
                  <a:pt x="39" y="127"/>
                  <a:pt x="38" y="127"/>
                </a:cubicBezTo>
                <a:cubicBezTo>
                  <a:pt x="38" y="126"/>
                  <a:pt x="38" y="126"/>
                  <a:pt x="38" y="126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32" y="130"/>
                  <a:pt x="30" y="129"/>
                  <a:pt x="29" y="128"/>
                </a:cubicBezTo>
                <a:cubicBezTo>
                  <a:pt x="32" y="122"/>
                  <a:pt x="32" y="122"/>
                  <a:pt x="32" y="122"/>
                </a:cubicBezTo>
                <a:cubicBezTo>
                  <a:pt x="31" y="122"/>
                  <a:pt x="31" y="122"/>
                  <a:pt x="31" y="122"/>
                </a:cubicBezTo>
                <a:cubicBezTo>
                  <a:pt x="30" y="121"/>
                  <a:pt x="29" y="120"/>
                  <a:pt x="28" y="119"/>
                </a:cubicBezTo>
                <a:cubicBezTo>
                  <a:pt x="28" y="119"/>
                  <a:pt x="28" y="119"/>
                  <a:pt x="28" y="119"/>
                </a:cubicBezTo>
                <a:cubicBezTo>
                  <a:pt x="23" y="123"/>
                  <a:pt x="23" y="123"/>
                  <a:pt x="23" y="123"/>
                </a:cubicBezTo>
                <a:cubicBezTo>
                  <a:pt x="21" y="122"/>
                  <a:pt x="20" y="120"/>
                  <a:pt x="18" y="119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2" y="114"/>
                  <a:pt x="22" y="114"/>
                  <a:pt x="22" y="114"/>
                </a:cubicBezTo>
                <a:cubicBezTo>
                  <a:pt x="21" y="112"/>
                  <a:pt x="20" y="111"/>
                  <a:pt x="19" y="110"/>
                </a:cubicBezTo>
                <a:cubicBezTo>
                  <a:pt x="19" y="110"/>
                  <a:pt x="19" y="110"/>
                  <a:pt x="19" y="110"/>
                </a:cubicBezTo>
                <a:cubicBezTo>
                  <a:pt x="13" y="113"/>
                  <a:pt x="13" y="113"/>
                  <a:pt x="13" y="113"/>
                </a:cubicBezTo>
                <a:cubicBezTo>
                  <a:pt x="12" y="111"/>
                  <a:pt x="11" y="109"/>
                  <a:pt x="10" y="108"/>
                </a:cubicBezTo>
                <a:cubicBezTo>
                  <a:pt x="15" y="104"/>
                  <a:pt x="15" y="104"/>
                  <a:pt x="15" y="104"/>
                </a:cubicBezTo>
                <a:cubicBezTo>
                  <a:pt x="15" y="103"/>
                  <a:pt x="15" y="103"/>
                  <a:pt x="15" y="103"/>
                </a:cubicBezTo>
                <a:cubicBezTo>
                  <a:pt x="14" y="102"/>
                  <a:pt x="13" y="101"/>
                  <a:pt x="13" y="99"/>
                </a:cubicBezTo>
                <a:cubicBezTo>
                  <a:pt x="12" y="99"/>
                  <a:pt x="12" y="99"/>
                  <a:pt x="12" y="99"/>
                </a:cubicBezTo>
                <a:cubicBezTo>
                  <a:pt x="6" y="101"/>
                  <a:pt x="6" y="101"/>
                  <a:pt x="6" y="101"/>
                </a:cubicBezTo>
                <a:cubicBezTo>
                  <a:pt x="5" y="99"/>
                  <a:pt x="5" y="97"/>
                  <a:pt x="4" y="95"/>
                </a:cubicBezTo>
                <a:cubicBezTo>
                  <a:pt x="10" y="92"/>
                  <a:pt x="10" y="92"/>
                  <a:pt x="10" y="92"/>
                </a:cubicBezTo>
                <a:cubicBezTo>
                  <a:pt x="10" y="92"/>
                  <a:pt x="10" y="92"/>
                  <a:pt x="10" y="92"/>
                </a:cubicBezTo>
                <a:cubicBezTo>
                  <a:pt x="9" y="90"/>
                  <a:pt x="9" y="89"/>
                  <a:pt x="8" y="88"/>
                </a:cubicBezTo>
                <a:cubicBezTo>
                  <a:pt x="8" y="87"/>
                  <a:pt x="8" y="87"/>
                  <a:pt x="8" y="87"/>
                </a:cubicBezTo>
                <a:cubicBezTo>
                  <a:pt x="2" y="88"/>
                  <a:pt x="2" y="88"/>
                  <a:pt x="2" y="88"/>
                </a:cubicBezTo>
                <a:cubicBezTo>
                  <a:pt x="1" y="86"/>
                  <a:pt x="1" y="84"/>
                  <a:pt x="1" y="82"/>
                </a:cubicBezTo>
                <a:cubicBezTo>
                  <a:pt x="7" y="80"/>
                  <a:pt x="7" y="80"/>
                  <a:pt x="7" y="80"/>
                </a:cubicBezTo>
                <a:cubicBezTo>
                  <a:pt x="7" y="80"/>
                  <a:pt x="7" y="80"/>
                  <a:pt x="7" y="80"/>
                </a:cubicBezTo>
                <a:cubicBezTo>
                  <a:pt x="6" y="78"/>
                  <a:pt x="6" y="77"/>
                  <a:pt x="6" y="75"/>
                </a:cubicBezTo>
                <a:cubicBezTo>
                  <a:pt x="6" y="75"/>
                  <a:pt x="6" y="75"/>
                  <a:pt x="6" y="75"/>
                </a:cubicBezTo>
                <a:cubicBezTo>
                  <a:pt x="0" y="74"/>
                  <a:pt x="0" y="74"/>
                  <a:pt x="0" y="74"/>
                </a:cubicBezTo>
                <a:cubicBezTo>
                  <a:pt x="0" y="73"/>
                  <a:pt x="0" y="72"/>
                  <a:pt x="0" y="71"/>
                </a:cubicBezTo>
                <a:cubicBezTo>
                  <a:pt x="0" y="70"/>
                  <a:pt x="0" y="69"/>
                  <a:pt x="0" y="68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7"/>
                  <a:pt x="6" y="67"/>
                  <a:pt x="6" y="67"/>
                </a:cubicBezTo>
                <a:cubicBezTo>
                  <a:pt x="6" y="65"/>
                  <a:pt x="6" y="64"/>
                  <a:pt x="7" y="62"/>
                </a:cubicBezTo>
                <a:cubicBezTo>
                  <a:pt x="7" y="62"/>
                  <a:pt x="7" y="62"/>
                  <a:pt x="7" y="62"/>
                </a:cubicBezTo>
                <a:cubicBezTo>
                  <a:pt x="1" y="60"/>
                  <a:pt x="1" y="60"/>
                  <a:pt x="1" y="60"/>
                </a:cubicBezTo>
                <a:cubicBezTo>
                  <a:pt x="1" y="58"/>
                  <a:pt x="1" y="56"/>
                  <a:pt x="2" y="54"/>
                </a:cubicBezTo>
                <a:cubicBezTo>
                  <a:pt x="8" y="55"/>
                  <a:pt x="8" y="55"/>
                  <a:pt x="8" y="55"/>
                </a:cubicBezTo>
                <a:cubicBezTo>
                  <a:pt x="8" y="54"/>
                  <a:pt x="8" y="54"/>
                  <a:pt x="8" y="54"/>
                </a:cubicBezTo>
                <a:cubicBezTo>
                  <a:pt x="9" y="53"/>
                  <a:pt x="9" y="52"/>
                  <a:pt x="10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4" y="47"/>
                  <a:pt x="4" y="47"/>
                  <a:pt x="4" y="47"/>
                </a:cubicBezTo>
                <a:cubicBezTo>
                  <a:pt x="5" y="45"/>
                  <a:pt x="5" y="43"/>
                  <a:pt x="6" y="41"/>
                </a:cubicBezTo>
                <a:cubicBezTo>
                  <a:pt x="12" y="43"/>
                  <a:pt x="12" y="43"/>
                  <a:pt x="12" y="43"/>
                </a:cubicBezTo>
                <a:cubicBezTo>
                  <a:pt x="13" y="43"/>
                  <a:pt x="13" y="43"/>
                  <a:pt x="13" y="43"/>
                </a:cubicBezTo>
                <a:cubicBezTo>
                  <a:pt x="13" y="41"/>
                  <a:pt x="14" y="40"/>
                  <a:pt x="15" y="39"/>
                </a:cubicBezTo>
                <a:cubicBezTo>
                  <a:pt x="15" y="38"/>
                  <a:pt x="15" y="38"/>
                  <a:pt x="15" y="38"/>
                </a:cubicBezTo>
                <a:cubicBezTo>
                  <a:pt x="10" y="34"/>
                  <a:pt x="10" y="34"/>
                  <a:pt x="10" y="34"/>
                </a:cubicBezTo>
                <a:cubicBezTo>
                  <a:pt x="11" y="33"/>
                  <a:pt x="12" y="31"/>
                  <a:pt x="13" y="29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0" y="31"/>
                  <a:pt x="21" y="30"/>
                  <a:pt x="22" y="29"/>
                </a:cubicBezTo>
                <a:cubicBezTo>
                  <a:pt x="22" y="28"/>
                  <a:pt x="22" y="28"/>
                  <a:pt x="22" y="28"/>
                </a:cubicBezTo>
                <a:cubicBezTo>
                  <a:pt x="18" y="23"/>
                  <a:pt x="18" y="23"/>
                  <a:pt x="18" y="23"/>
                </a:cubicBezTo>
                <a:cubicBezTo>
                  <a:pt x="20" y="22"/>
                  <a:pt x="21" y="20"/>
                  <a:pt x="23" y="19"/>
                </a:cubicBezTo>
                <a:cubicBezTo>
                  <a:pt x="28" y="23"/>
                  <a:pt x="28" y="23"/>
                  <a:pt x="28" y="23"/>
                </a:cubicBezTo>
                <a:cubicBezTo>
                  <a:pt x="28" y="23"/>
                  <a:pt x="28" y="23"/>
                  <a:pt x="28" y="23"/>
                </a:cubicBezTo>
                <a:cubicBezTo>
                  <a:pt x="29" y="22"/>
                  <a:pt x="30" y="21"/>
                  <a:pt x="31" y="20"/>
                </a:cubicBezTo>
                <a:cubicBezTo>
                  <a:pt x="32" y="20"/>
                  <a:pt x="32" y="20"/>
                  <a:pt x="32" y="20"/>
                </a:cubicBezTo>
                <a:cubicBezTo>
                  <a:pt x="29" y="14"/>
                  <a:pt x="29" y="14"/>
                  <a:pt x="29" y="14"/>
                </a:cubicBezTo>
                <a:cubicBezTo>
                  <a:pt x="30" y="13"/>
                  <a:pt x="32" y="12"/>
                  <a:pt x="34" y="11"/>
                </a:cubicBezTo>
                <a:cubicBezTo>
                  <a:pt x="38" y="16"/>
                  <a:pt x="38" y="16"/>
                  <a:pt x="38" y="16"/>
                </a:cubicBezTo>
                <a:cubicBezTo>
                  <a:pt x="38" y="15"/>
                  <a:pt x="38" y="15"/>
                  <a:pt x="38" y="15"/>
                </a:cubicBezTo>
                <a:cubicBezTo>
                  <a:pt x="39" y="15"/>
                  <a:pt x="41" y="14"/>
                  <a:pt x="42" y="13"/>
                </a:cubicBezTo>
                <a:cubicBezTo>
                  <a:pt x="42" y="13"/>
                  <a:pt x="42" y="13"/>
                  <a:pt x="42" y="13"/>
                </a:cubicBezTo>
                <a:cubicBezTo>
                  <a:pt x="41" y="7"/>
                  <a:pt x="41" y="7"/>
                  <a:pt x="41" y="7"/>
                </a:cubicBezTo>
                <a:cubicBezTo>
                  <a:pt x="42" y="6"/>
                  <a:pt x="44" y="5"/>
                  <a:pt x="46" y="5"/>
                </a:cubicBezTo>
                <a:cubicBezTo>
                  <a:pt x="49" y="10"/>
                  <a:pt x="49" y="10"/>
                  <a:pt x="49" y="10"/>
                </a:cubicBezTo>
                <a:cubicBezTo>
                  <a:pt x="50" y="10"/>
                  <a:pt x="50" y="10"/>
                  <a:pt x="50" y="10"/>
                </a:cubicBezTo>
                <a:cubicBezTo>
                  <a:pt x="51" y="10"/>
                  <a:pt x="52" y="9"/>
                  <a:pt x="54" y="9"/>
                </a:cubicBezTo>
                <a:cubicBezTo>
                  <a:pt x="54" y="9"/>
                  <a:pt x="54" y="9"/>
                  <a:pt x="54" y="9"/>
                </a:cubicBezTo>
                <a:cubicBezTo>
                  <a:pt x="54" y="2"/>
                  <a:pt x="54" y="2"/>
                  <a:pt x="54" y="2"/>
                </a:cubicBezTo>
                <a:cubicBezTo>
                  <a:pt x="56" y="2"/>
                  <a:pt x="58" y="1"/>
                  <a:pt x="60" y="1"/>
                </a:cubicBezTo>
                <a:cubicBezTo>
                  <a:pt x="61" y="7"/>
                  <a:pt x="61" y="7"/>
                  <a:pt x="61" y="7"/>
                </a:cubicBezTo>
                <a:cubicBezTo>
                  <a:pt x="62" y="7"/>
                  <a:pt x="62" y="7"/>
                  <a:pt x="62" y="7"/>
                </a:cubicBezTo>
                <a:cubicBezTo>
                  <a:pt x="63" y="7"/>
                  <a:pt x="65" y="7"/>
                  <a:pt x="66" y="7"/>
                </a:cubicBezTo>
                <a:cubicBezTo>
                  <a:pt x="67" y="7"/>
                  <a:pt x="67" y="7"/>
                  <a:pt x="67" y="7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9" y="0"/>
                  <a:pt x="70" y="0"/>
                </a:cubicBezTo>
                <a:cubicBezTo>
                  <a:pt x="71" y="0"/>
                  <a:pt x="72" y="0"/>
                  <a:pt x="73" y="0"/>
                </a:cubicBezTo>
                <a:cubicBezTo>
                  <a:pt x="74" y="7"/>
                  <a:pt x="74" y="7"/>
                  <a:pt x="74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6" y="7"/>
                  <a:pt x="77" y="7"/>
                  <a:pt x="79" y="7"/>
                </a:cubicBezTo>
                <a:cubicBezTo>
                  <a:pt x="79" y="7"/>
                  <a:pt x="79" y="7"/>
                  <a:pt x="79" y="7"/>
                </a:cubicBezTo>
                <a:cubicBezTo>
                  <a:pt x="81" y="1"/>
                  <a:pt x="81" y="1"/>
                  <a:pt x="81" y="1"/>
                </a:cubicBezTo>
                <a:cubicBezTo>
                  <a:pt x="83" y="1"/>
                  <a:pt x="85" y="2"/>
                  <a:pt x="87" y="2"/>
                </a:cubicBezTo>
                <a:cubicBezTo>
                  <a:pt x="87" y="9"/>
                  <a:pt x="87" y="9"/>
                  <a:pt x="87" y="9"/>
                </a:cubicBezTo>
                <a:cubicBezTo>
                  <a:pt x="87" y="9"/>
                  <a:pt x="87" y="9"/>
                  <a:pt x="87" y="9"/>
                </a:cubicBezTo>
                <a:cubicBezTo>
                  <a:pt x="88" y="9"/>
                  <a:pt x="90" y="10"/>
                  <a:pt x="91" y="10"/>
                </a:cubicBezTo>
                <a:cubicBezTo>
                  <a:pt x="92" y="10"/>
                  <a:pt x="92" y="10"/>
                  <a:pt x="92" y="10"/>
                </a:cubicBezTo>
                <a:cubicBezTo>
                  <a:pt x="95" y="5"/>
                  <a:pt x="95" y="5"/>
                  <a:pt x="95" y="5"/>
                </a:cubicBezTo>
                <a:cubicBezTo>
                  <a:pt x="96" y="5"/>
                  <a:pt x="98" y="6"/>
                  <a:pt x="100" y="7"/>
                </a:cubicBezTo>
                <a:cubicBezTo>
                  <a:pt x="98" y="13"/>
                  <a:pt x="98" y="13"/>
                  <a:pt x="98" y="13"/>
                </a:cubicBezTo>
                <a:cubicBezTo>
                  <a:pt x="99" y="13"/>
                  <a:pt x="99" y="13"/>
                  <a:pt x="99" y="13"/>
                </a:cubicBezTo>
                <a:cubicBezTo>
                  <a:pt x="100" y="14"/>
                  <a:pt x="101" y="15"/>
                  <a:pt x="103" y="15"/>
                </a:cubicBezTo>
                <a:cubicBezTo>
                  <a:pt x="103" y="16"/>
                  <a:pt x="103" y="16"/>
                  <a:pt x="103" y="16"/>
                </a:cubicBezTo>
                <a:cubicBezTo>
                  <a:pt x="107" y="11"/>
                  <a:pt x="107" y="11"/>
                  <a:pt x="107" y="11"/>
                </a:cubicBezTo>
                <a:cubicBezTo>
                  <a:pt x="109" y="12"/>
                  <a:pt x="111" y="13"/>
                  <a:pt x="112" y="14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11" y="21"/>
                  <a:pt x="112" y="22"/>
                  <a:pt x="113" y="23"/>
                </a:cubicBezTo>
                <a:cubicBezTo>
                  <a:pt x="113" y="23"/>
                  <a:pt x="113" y="23"/>
                  <a:pt x="113" y="23"/>
                </a:cubicBezTo>
                <a:cubicBezTo>
                  <a:pt x="118" y="19"/>
                  <a:pt x="118" y="19"/>
                  <a:pt x="118" y="19"/>
                </a:cubicBezTo>
                <a:cubicBezTo>
                  <a:pt x="120" y="20"/>
                  <a:pt x="121" y="22"/>
                  <a:pt x="122" y="23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20" y="30"/>
                  <a:pt x="121" y="31"/>
                  <a:pt x="121" y="32"/>
                </a:cubicBezTo>
                <a:cubicBezTo>
                  <a:pt x="122" y="32"/>
                  <a:pt x="122" y="32"/>
                  <a:pt x="122" y="32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129" y="31"/>
                  <a:pt x="130" y="33"/>
                  <a:pt x="131" y="34"/>
                </a:cubicBezTo>
                <a:cubicBezTo>
                  <a:pt x="126" y="38"/>
                  <a:pt x="126" y="38"/>
                  <a:pt x="126" y="38"/>
                </a:cubicBezTo>
                <a:cubicBezTo>
                  <a:pt x="126" y="39"/>
                  <a:pt x="126" y="39"/>
                  <a:pt x="126" y="39"/>
                </a:cubicBezTo>
                <a:cubicBezTo>
                  <a:pt x="127" y="40"/>
                  <a:pt x="128" y="41"/>
                  <a:pt x="128" y="43"/>
                </a:cubicBezTo>
                <a:cubicBezTo>
                  <a:pt x="128" y="43"/>
                  <a:pt x="128" y="43"/>
                  <a:pt x="128" y="43"/>
                </a:cubicBezTo>
                <a:cubicBezTo>
                  <a:pt x="134" y="41"/>
                  <a:pt x="134" y="41"/>
                  <a:pt x="134" y="41"/>
                </a:cubicBezTo>
                <a:cubicBezTo>
                  <a:pt x="135" y="43"/>
                  <a:pt x="136" y="45"/>
                  <a:pt x="137" y="47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2" y="52"/>
                  <a:pt x="132" y="53"/>
                  <a:pt x="133" y="54"/>
                </a:cubicBezTo>
                <a:cubicBezTo>
                  <a:pt x="133" y="55"/>
                  <a:pt x="133" y="55"/>
                  <a:pt x="133" y="55"/>
                </a:cubicBezTo>
                <a:cubicBezTo>
                  <a:pt x="139" y="54"/>
                  <a:pt x="139" y="54"/>
                  <a:pt x="139" y="54"/>
                </a:cubicBezTo>
                <a:cubicBezTo>
                  <a:pt x="140" y="56"/>
                  <a:pt x="140" y="58"/>
                  <a:pt x="140" y="60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2"/>
                  <a:pt x="134" y="62"/>
                  <a:pt x="134" y="62"/>
                </a:cubicBezTo>
                <a:cubicBezTo>
                  <a:pt x="134" y="64"/>
                  <a:pt x="134" y="65"/>
                  <a:pt x="135" y="67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41" y="68"/>
                  <a:pt x="141" y="68"/>
                  <a:pt x="141" y="68"/>
                </a:cubicBezTo>
                <a:cubicBezTo>
                  <a:pt x="141" y="69"/>
                  <a:pt x="141" y="70"/>
                  <a:pt x="141" y="71"/>
                </a:cubicBezTo>
                <a:cubicBezTo>
                  <a:pt x="141" y="72"/>
                  <a:pt x="141" y="73"/>
                  <a:pt x="141" y="74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5" y="75"/>
                  <a:pt x="135" y="75"/>
                  <a:pt x="135" y="75"/>
                </a:cubicBezTo>
                <a:cubicBezTo>
                  <a:pt x="134" y="77"/>
                  <a:pt x="134" y="78"/>
                  <a:pt x="134" y="80"/>
                </a:cubicBezTo>
                <a:cubicBezTo>
                  <a:pt x="134" y="80"/>
                  <a:pt x="134" y="80"/>
                  <a:pt x="134" y="80"/>
                </a:cubicBezTo>
                <a:cubicBezTo>
                  <a:pt x="140" y="82"/>
                  <a:pt x="140" y="82"/>
                  <a:pt x="140" y="82"/>
                </a:cubicBezTo>
                <a:cubicBezTo>
                  <a:pt x="140" y="84"/>
                  <a:pt x="140" y="86"/>
                  <a:pt x="139" y="88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33" y="88"/>
                  <a:pt x="133" y="88"/>
                  <a:pt x="133" y="88"/>
                </a:cubicBezTo>
                <a:cubicBezTo>
                  <a:pt x="132" y="89"/>
                  <a:pt x="132" y="90"/>
                  <a:pt x="131" y="92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7" y="95"/>
                  <a:pt x="137" y="95"/>
                  <a:pt x="137" y="95"/>
                </a:cubicBezTo>
                <a:cubicBezTo>
                  <a:pt x="136" y="97"/>
                  <a:pt x="135" y="99"/>
                  <a:pt x="134" y="101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99"/>
                  <a:pt x="128" y="99"/>
                  <a:pt x="128" y="99"/>
                </a:cubicBezTo>
                <a:cubicBezTo>
                  <a:pt x="128" y="101"/>
                  <a:pt x="127" y="102"/>
                  <a:pt x="126" y="103"/>
                </a:cubicBezTo>
                <a:cubicBezTo>
                  <a:pt x="126" y="104"/>
                  <a:pt x="126" y="104"/>
                  <a:pt x="126" y="104"/>
                </a:cubicBezTo>
                <a:cubicBezTo>
                  <a:pt x="131" y="108"/>
                  <a:pt x="131" y="108"/>
                  <a:pt x="131" y="108"/>
                </a:cubicBezTo>
                <a:cubicBezTo>
                  <a:pt x="130" y="109"/>
                  <a:pt x="129" y="111"/>
                  <a:pt x="127" y="113"/>
                </a:cubicBezTo>
                <a:cubicBezTo>
                  <a:pt x="122" y="110"/>
                  <a:pt x="122" y="110"/>
                  <a:pt x="122" y="110"/>
                </a:cubicBezTo>
                <a:cubicBezTo>
                  <a:pt x="121" y="110"/>
                  <a:pt x="121" y="110"/>
                  <a:pt x="121" y="110"/>
                </a:cubicBezTo>
                <a:cubicBezTo>
                  <a:pt x="121" y="111"/>
                  <a:pt x="120" y="112"/>
                  <a:pt x="119" y="114"/>
                </a:cubicBezTo>
                <a:cubicBezTo>
                  <a:pt x="118" y="114"/>
                  <a:pt x="118" y="114"/>
                  <a:pt x="118" y="114"/>
                </a:cubicBezTo>
                <a:cubicBezTo>
                  <a:pt x="122" y="119"/>
                  <a:pt x="122" y="119"/>
                  <a:pt x="122" y="119"/>
                </a:cubicBezTo>
                <a:cubicBezTo>
                  <a:pt x="121" y="120"/>
                  <a:pt x="120" y="122"/>
                  <a:pt x="118" y="123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3" y="119"/>
                  <a:pt x="113" y="119"/>
                  <a:pt x="113" y="119"/>
                </a:cubicBezTo>
                <a:cubicBezTo>
                  <a:pt x="112" y="120"/>
                  <a:pt x="111" y="121"/>
                  <a:pt x="109" y="122"/>
                </a:cubicBezTo>
                <a:cubicBezTo>
                  <a:pt x="109" y="122"/>
                  <a:pt x="109" y="122"/>
                  <a:pt x="109" y="122"/>
                </a:cubicBezTo>
                <a:cubicBezTo>
                  <a:pt x="112" y="128"/>
                  <a:pt x="112" y="128"/>
                  <a:pt x="112" y="128"/>
                </a:cubicBezTo>
                <a:cubicBezTo>
                  <a:pt x="111" y="129"/>
                  <a:pt x="109" y="130"/>
                  <a:pt x="107" y="131"/>
                </a:cubicBezTo>
                <a:cubicBezTo>
                  <a:pt x="103" y="126"/>
                  <a:pt x="103" y="126"/>
                  <a:pt x="103" y="126"/>
                </a:cubicBezTo>
                <a:cubicBezTo>
                  <a:pt x="103" y="127"/>
                  <a:pt x="103" y="127"/>
                  <a:pt x="103" y="127"/>
                </a:cubicBezTo>
                <a:cubicBezTo>
                  <a:pt x="101" y="127"/>
                  <a:pt x="100" y="128"/>
                  <a:pt x="99" y="129"/>
                </a:cubicBezTo>
                <a:cubicBezTo>
                  <a:pt x="98" y="129"/>
                  <a:pt x="98" y="129"/>
                  <a:pt x="98" y="129"/>
                </a:cubicBezTo>
                <a:cubicBezTo>
                  <a:pt x="100" y="135"/>
                  <a:pt x="100" y="135"/>
                  <a:pt x="100" y="135"/>
                </a:cubicBezTo>
                <a:cubicBezTo>
                  <a:pt x="98" y="136"/>
                  <a:pt x="96" y="137"/>
                  <a:pt x="95" y="137"/>
                </a:cubicBezTo>
                <a:cubicBezTo>
                  <a:pt x="92" y="132"/>
                  <a:pt x="92" y="132"/>
                  <a:pt x="92" y="132"/>
                </a:cubicBezTo>
                <a:cubicBezTo>
                  <a:pt x="91" y="132"/>
                  <a:pt x="91" y="132"/>
                  <a:pt x="91" y="132"/>
                </a:cubicBezTo>
                <a:cubicBezTo>
                  <a:pt x="90" y="132"/>
                  <a:pt x="88" y="133"/>
                  <a:pt x="87" y="133"/>
                </a:cubicBezTo>
                <a:cubicBezTo>
                  <a:pt x="87" y="133"/>
                  <a:pt x="87" y="133"/>
                  <a:pt x="87" y="133"/>
                </a:cubicBezTo>
                <a:cubicBezTo>
                  <a:pt x="87" y="140"/>
                  <a:pt x="87" y="140"/>
                  <a:pt x="87" y="140"/>
                </a:cubicBezTo>
                <a:cubicBezTo>
                  <a:pt x="85" y="140"/>
                  <a:pt x="83" y="141"/>
                  <a:pt x="81" y="141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9" y="135"/>
                  <a:pt x="79" y="135"/>
                  <a:pt x="79" y="135"/>
                </a:cubicBezTo>
                <a:cubicBezTo>
                  <a:pt x="77" y="135"/>
                  <a:pt x="76" y="135"/>
                  <a:pt x="74" y="135"/>
                </a:cubicBezTo>
                <a:cubicBezTo>
                  <a:pt x="74" y="135"/>
                  <a:pt x="74" y="135"/>
                  <a:pt x="74" y="135"/>
                </a:cubicBezTo>
                <a:cubicBezTo>
                  <a:pt x="73" y="142"/>
                  <a:pt x="73" y="142"/>
                  <a:pt x="73" y="142"/>
                </a:cubicBezTo>
                <a:cubicBezTo>
                  <a:pt x="72" y="142"/>
                  <a:pt x="71" y="142"/>
                  <a:pt x="70" y="142"/>
                </a:cubicBezTo>
                <a:close/>
              </a:path>
            </a:pathLst>
          </a:custGeom>
          <a:solidFill>
            <a:srgbClr val="AFABA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2" name="Freeform 6"/>
          <p:cNvSpPr>
            <a:spLocks/>
          </p:cNvSpPr>
          <p:nvPr/>
        </p:nvSpPr>
        <p:spPr bwMode="auto">
          <a:xfrm>
            <a:off x="4827072" y="5186958"/>
            <a:ext cx="2529319" cy="360000"/>
          </a:xfrm>
          <a:custGeom>
            <a:avLst/>
            <a:gdLst>
              <a:gd name="T0" fmla="*/ 52 w 56"/>
              <a:gd name="T1" fmla="*/ 0 h 8"/>
              <a:gd name="T2" fmla="*/ 4 w 56"/>
              <a:gd name="T3" fmla="*/ 0 h 8"/>
              <a:gd name="T4" fmla="*/ 0 w 56"/>
              <a:gd name="T5" fmla="*/ 4 h 8"/>
              <a:gd name="T6" fmla="*/ 4 w 56"/>
              <a:gd name="T7" fmla="*/ 8 h 8"/>
              <a:gd name="T8" fmla="*/ 52 w 56"/>
              <a:gd name="T9" fmla="*/ 8 h 8"/>
              <a:gd name="T10" fmla="*/ 56 w 56"/>
              <a:gd name="T11" fmla="*/ 4 h 8"/>
              <a:gd name="T12" fmla="*/ 52 w 56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8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000" dirty="0" smtClean="0">
                <a:solidFill>
                  <a:srgbClr val="14300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erational Manual</a:t>
            </a:r>
            <a:endParaRPr lang="en-US" sz="2000" dirty="0">
              <a:solidFill>
                <a:srgbClr val="14300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Freeform 7"/>
          <p:cNvSpPr>
            <a:spLocks/>
          </p:cNvSpPr>
          <p:nvPr/>
        </p:nvSpPr>
        <p:spPr bwMode="auto">
          <a:xfrm>
            <a:off x="4839532" y="5678840"/>
            <a:ext cx="2529319" cy="360000"/>
          </a:xfrm>
          <a:custGeom>
            <a:avLst/>
            <a:gdLst>
              <a:gd name="T0" fmla="*/ 52 w 56"/>
              <a:gd name="T1" fmla="*/ 0 h 8"/>
              <a:gd name="T2" fmla="*/ 4 w 56"/>
              <a:gd name="T3" fmla="*/ 0 h 8"/>
              <a:gd name="T4" fmla="*/ 0 w 56"/>
              <a:gd name="T5" fmla="*/ 4 h 8"/>
              <a:gd name="T6" fmla="*/ 4 w 56"/>
              <a:gd name="T7" fmla="*/ 8 h 8"/>
              <a:gd name="T8" fmla="*/ 52 w 56"/>
              <a:gd name="T9" fmla="*/ 8 h 8"/>
              <a:gd name="T10" fmla="*/ 56 w 56"/>
              <a:gd name="T11" fmla="*/ 4 h 8"/>
              <a:gd name="T12" fmla="*/ 52 w 56"/>
              <a:gd name="T1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6" h="8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000" dirty="0" smtClean="0">
                <a:solidFill>
                  <a:srgbClr val="39290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cess Manual</a:t>
            </a:r>
            <a:endParaRPr lang="en-US" sz="2000" dirty="0">
              <a:solidFill>
                <a:srgbClr val="39290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Freeform 8"/>
          <p:cNvSpPr>
            <a:spLocks/>
          </p:cNvSpPr>
          <p:nvPr/>
        </p:nvSpPr>
        <p:spPr bwMode="auto">
          <a:xfrm>
            <a:off x="4827072" y="6170723"/>
            <a:ext cx="2529319" cy="578578"/>
          </a:xfrm>
          <a:custGeom>
            <a:avLst/>
            <a:gdLst>
              <a:gd name="T0" fmla="*/ 52 w 56"/>
              <a:gd name="T1" fmla="*/ 0 h 24"/>
              <a:gd name="T2" fmla="*/ 4 w 56"/>
              <a:gd name="T3" fmla="*/ 0 h 24"/>
              <a:gd name="T4" fmla="*/ 0 w 56"/>
              <a:gd name="T5" fmla="*/ 4 h 24"/>
              <a:gd name="T6" fmla="*/ 4 w 56"/>
              <a:gd name="T7" fmla="*/ 8 h 24"/>
              <a:gd name="T8" fmla="*/ 24 w 56"/>
              <a:gd name="T9" fmla="*/ 8 h 24"/>
              <a:gd name="T10" fmla="*/ 24 w 56"/>
              <a:gd name="T11" fmla="*/ 20 h 24"/>
              <a:gd name="T12" fmla="*/ 28 w 56"/>
              <a:gd name="T13" fmla="*/ 24 h 24"/>
              <a:gd name="T14" fmla="*/ 32 w 56"/>
              <a:gd name="T15" fmla="*/ 20 h 24"/>
              <a:gd name="T16" fmla="*/ 32 w 56"/>
              <a:gd name="T17" fmla="*/ 8 h 24"/>
              <a:gd name="T18" fmla="*/ 52 w 56"/>
              <a:gd name="T19" fmla="*/ 8 h 24"/>
              <a:gd name="T20" fmla="*/ 56 w 56"/>
              <a:gd name="T21" fmla="*/ 4 h 24"/>
              <a:gd name="T22" fmla="*/ 52 w 56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6" h="24">
                <a:moveTo>
                  <a:pt x="52" y="0"/>
                </a:moveTo>
                <a:cubicBezTo>
                  <a:pt x="4" y="0"/>
                  <a:pt x="4" y="0"/>
                  <a:pt x="4" y="0"/>
                </a:cubicBezTo>
                <a:cubicBezTo>
                  <a:pt x="2" y="0"/>
                  <a:pt x="0" y="2"/>
                  <a:pt x="0" y="4"/>
                </a:cubicBezTo>
                <a:cubicBezTo>
                  <a:pt x="0" y="6"/>
                  <a:pt x="2" y="8"/>
                  <a:pt x="4" y="8"/>
                </a:cubicBezTo>
                <a:cubicBezTo>
                  <a:pt x="24" y="8"/>
                  <a:pt x="24" y="8"/>
                  <a:pt x="24" y="8"/>
                </a:cubicBezTo>
                <a:cubicBezTo>
                  <a:pt x="24" y="20"/>
                  <a:pt x="24" y="20"/>
                  <a:pt x="24" y="20"/>
                </a:cubicBezTo>
                <a:cubicBezTo>
                  <a:pt x="24" y="22"/>
                  <a:pt x="26" y="24"/>
                  <a:pt x="28" y="24"/>
                </a:cubicBezTo>
                <a:cubicBezTo>
                  <a:pt x="30" y="24"/>
                  <a:pt x="32" y="22"/>
                  <a:pt x="32" y="20"/>
                </a:cubicBezTo>
                <a:cubicBezTo>
                  <a:pt x="32" y="8"/>
                  <a:pt x="32" y="8"/>
                  <a:pt x="32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4" y="8"/>
                  <a:pt x="56" y="6"/>
                  <a:pt x="56" y="4"/>
                </a:cubicBezTo>
                <a:cubicBezTo>
                  <a:pt x="56" y="2"/>
                  <a:pt x="54" y="0"/>
                  <a:pt x="52" y="0"/>
                </a:cubicBezTo>
                <a:close/>
              </a:path>
            </a:pathLst>
          </a:custGeom>
          <a:solidFill>
            <a:schemeClr val="tx1">
              <a:lumMod val="9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753489" y="1031966"/>
            <a:ext cx="2631541" cy="1423309"/>
            <a:chOff x="5406258" y="1300713"/>
            <a:chExt cx="1341130" cy="1350533"/>
          </a:xfrm>
        </p:grpSpPr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406258" y="1300713"/>
              <a:ext cx="1341130" cy="1350533"/>
            </a:xfrm>
            <a:custGeom>
              <a:avLst/>
              <a:gdLst>
                <a:gd name="T0" fmla="*/ 66 w 141"/>
                <a:gd name="T1" fmla="*/ 135 h 142"/>
                <a:gd name="T2" fmla="*/ 54 w 141"/>
                <a:gd name="T3" fmla="*/ 140 h 142"/>
                <a:gd name="T4" fmla="*/ 49 w 141"/>
                <a:gd name="T5" fmla="*/ 132 h 142"/>
                <a:gd name="T6" fmla="*/ 42 w 141"/>
                <a:gd name="T7" fmla="*/ 129 h 142"/>
                <a:gd name="T8" fmla="*/ 29 w 141"/>
                <a:gd name="T9" fmla="*/ 128 h 142"/>
                <a:gd name="T10" fmla="*/ 28 w 141"/>
                <a:gd name="T11" fmla="*/ 119 h 142"/>
                <a:gd name="T12" fmla="*/ 22 w 141"/>
                <a:gd name="T13" fmla="*/ 114 h 142"/>
                <a:gd name="T14" fmla="*/ 10 w 141"/>
                <a:gd name="T15" fmla="*/ 108 h 142"/>
                <a:gd name="T16" fmla="*/ 12 w 141"/>
                <a:gd name="T17" fmla="*/ 99 h 142"/>
                <a:gd name="T18" fmla="*/ 10 w 141"/>
                <a:gd name="T19" fmla="*/ 92 h 142"/>
                <a:gd name="T20" fmla="*/ 1 w 141"/>
                <a:gd name="T21" fmla="*/ 82 h 142"/>
                <a:gd name="T22" fmla="*/ 6 w 141"/>
                <a:gd name="T23" fmla="*/ 75 h 142"/>
                <a:gd name="T24" fmla="*/ 6 w 141"/>
                <a:gd name="T25" fmla="*/ 67 h 142"/>
                <a:gd name="T26" fmla="*/ 1 w 141"/>
                <a:gd name="T27" fmla="*/ 60 h 142"/>
                <a:gd name="T28" fmla="*/ 10 w 141"/>
                <a:gd name="T29" fmla="*/ 50 h 142"/>
                <a:gd name="T30" fmla="*/ 12 w 141"/>
                <a:gd name="T31" fmla="*/ 43 h 142"/>
                <a:gd name="T32" fmla="*/ 10 w 141"/>
                <a:gd name="T33" fmla="*/ 34 h 142"/>
                <a:gd name="T34" fmla="*/ 22 w 141"/>
                <a:gd name="T35" fmla="*/ 29 h 142"/>
                <a:gd name="T36" fmla="*/ 28 w 141"/>
                <a:gd name="T37" fmla="*/ 23 h 142"/>
                <a:gd name="T38" fmla="*/ 29 w 141"/>
                <a:gd name="T39" fmla="*/ 14 h 142"/>
                <a:gd name="T40" fmla="*/ 42 w 141"/>
                <a:gd name="T41" fmla="*/ 13 h 142"/>
                <a:gd name="T42" fmla="*/ 49 w 141"/>
                <a:gd name="T43" fmla="*/ 10 h 142"/>
                <a:gd name="T44" fmla="*/ 54 w 141"/>
                <a:gd name="T45" fmla="*/ 2 h 142"/>
                <a:gd name="T46" fmla="*/ 66 w 141"/>
                <a:gd name="T47" fmla="*/ 7 h 142"/>
                <a:gd name="T48" fmla="*/ 73 w 141"/>
                <a:gd name="T49" fmla="*/ 0 h 142"/>
                <a:gd name="T50" fmla="*/ 79 w 141"/>
                <a:gd name="T51" fmla="*/ 7 h 142"/>
                <a:gd name="T52" fmla="*/ 87 w 141"/>
                <a:gd name="T53" fmla="*/ 9 h 142"/>
                <a:gd name="T54" fmla="*/ 100 w 141"/>
                <a:gd name="T55" fmla="*/ 7 h 142"/>
                <a:gd name="T56" fmla="*/ 103 w 141"/>
                <a:gd name="T57" fmla="*/ 16 h 142"/>
                <a:gd name="T58" fmla="*/ 109 w 141"/>
                <a:gd name="T59" fmla="*/ 20 h 142"/>
                <a:gd name="T60" fmla="*/ 122 w 141"/>
                <a:gd name="T61" fmla="*/ 23 h 142"/>
                <a:gd name="T62" fmla="*/ 122 w 141"/>
                <a:gd name="T63" fmla="*/ 32 h 142"/>
                <a:gd name="T64" fmla="*/ 126 w 141"/>
                <a:gd name="T65" fmla="*/ 39 h 142"/>
                <a:gd name="T66" fmla="*/ 137 w 141"/>
                <a:gd name="T67" fmla="*/ 47 h 142"/>
                <a:gd name="T68" fmla="*/ 133 w 141"/>
                <a:gd name="T69" fmla="*/ 55 h 142"/>
                <a:gd name="T70" fmla="*/ 134 w 141"/>
                <a:gd name="T71" fmla="*/ 62 h 142"/>
                <a:gd name="T72" fmla="*/ 141 w 141"/>
                <a:gd name="T73" fmla="*/ 71 h 142"/>
                <a:gd name="T74" fmla="*/ 134 w 141"/>
                <a:gd name="T75" fmla="*/ 80 h 142"/>
                <a:gd name="T76" fmla="*/ 133 w 141"/>
                <a:gd name="T77" fmla="*/ 87 h 142"/>
                <a:gd name="T78" fmla="*/ 137 w 141"/>
                <a:gd name="T79" fmla="*/ 95 h 142"/>
                <a:gd name="T80" fmla="*/ 126 w 141"/>
                <a:gd name="T81" fmla="*/ 103 h 142"/>
                <a:gd name="T82" fmla="*/ 122 w 141"/>
                <a:gd name="T83" fmla="*/ 110 h 142"/>
                <a:gd name="T84" fmla="*/ 122 w 141"/>
                <a:gd name="T85" fmla="*/ 119 h 142"/>
                <a:gd name="T86" fmla="*/ 109 w 141"/>
                <a:gd name="T87" fmla="*/ 122 h 142"/>
                <a:gd name="T88" fmla="*/ 103 w 141"/>
                <a:gd name="T89" fmla="*/ 126 h 142"/>
                <a:gd name="T90" fmla="*/ 100 w 141"/>
                <a:gd name="T91" fmla="*/ 135 h 142"/>
                <a:gd name="T92" fmla="*/ 87 w 141"/>
                <a:gd name="T93" fmla="*/ 133 h 142"/>
                <a:gd name="T94" fmla="*/ 79 w 141"/>
                <a:gd name="T95" fmla="*/ 135 h 142"/>
                <a:gd name="T96" fmla="*/ 73 w 141"/>
                <a:gd name="T9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1" h="142">
                  <a:moveTo>
                    <a:pt x="70" y="142"/>
                  </a:moveTo>
                  <a:cubicBezTo>
                    <a:pt x="69" y="142"/>
                    <a:pt x="68" y="142"/>
                    <a:pt x="67" y="142"/>
                  </a:cubicBezTo>
                  <a:cubicBezTo>
                    <a:pt x="67" y="135"/>
                    <a:pt x="67" y="135"/>
                    <a:pt x="67" y="135"/>
                  </a:cubicBezTo>
                  <a:cubicBezTo>
                    <a:pt x="66" y="135"/>
                    <a:pt x="66" y="135"/>
                    <a:pt x="66" y="135"/>
                  </a:cubicBezTo>
                  <a:cubicBezTo>
                    <a:pt x="65" y="135"/>
                    <a:pt x="63" y="135"/>
                    <a:pt x="62" y="135"/>
                  </a:cubicBezTo>
                  <a:cubicBezTo>
                    <a:pt x="61" y="135"/>
                    <a:pt x="61" y="135"/>
                    <a:pt x="61" y="135"/>
                  </a:cubicBezTo>
                  <a:cubicBezTo>
                    <a:pt x="60" y="141"/>
                    <a:pt x="60" y="141"/>
                    <a:pt x="60" y="141"/>
                  </a:cubicBezTo>
                  <a:cubicBezTo>
                    <a:pt x="58" y="141"/>
                    <a:pt x="56" y="140"/>
                    <a:pt x="54" y="140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2" y="133"/>
                    <a:pt x="51" y="132"/>
                    <a:pt x="50" y="132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46" y="137"/>
                    <a:pt x="46" y="137"/>
                    <a:pt x="46" y="137"/>
                  </a:cubicBezTo>
                  <a:cubicBezTo>
                    <a:pt x="44" y="137"/>
                    <a:pt x="42" y="136"/>
                    <a:pt x="41" y="135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1" y="128"/>
                    <a:pt x="39" y="127"/>
                    <a:pt x="38" y="127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32" y="130"/>
                    <a:pt x="30" y="129"/>
                    <a:pt x="29" y="128"/>
                  </a:cubicBezTo>
                  <a:cubicBezTo>
                    <a:pt x="32" y="122"/>
                    <a:pt x="32" y="122"/>
                    <a:pt x="32" y="122"/>
                  </a:cubicBezTo>
                  <a:cubicBezTo>
                    <a:pt x="31" y="122"/>
                    <a:pt x="31" y="122"/>
                    <a:pt x="31" y="122"/>
                  </a:cubicBezTo>
                  <a:cubicBezTo>
                    <a:pt x="30" y="121"/>
                    <a:pt x="29" y="120"/>
                    <a:pt x="28" y="119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1" y="122"/>
                    <a:pt x="20" y="120"/>
                    <a:pt x="18" y="119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1" y="112"/>
                    <a:pt x="20" y="111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2" y="111"/>
                    <a:pt x="11" y="109"/>
                    <a:pt x="10" y="108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4" y="102"/>
                    <a:pt x="13" y="101"/>
                    <a:pt x="13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5" y="99"/>
                    <a:pt x="5" y="97"/>
                    <a:pt x="4" y="95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9" y="90"/>
                    <a:pt x="9" y="89"/>
                    <a:pt x="8" y="88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1" y="86"/>
                    <a:pt x="1" y="84"/>
                    <a:pt x="1" y="82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78"/>
                    <a:pt x="6" y="77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3"/>
                    <a:pt x="0" y="72"/>
                    <a:pt x="0" y="71"/>
                  </a:cubicBezTo>
                  <a:cubicBezTo>
                    <a:pt x="0" y="70"/>
                    <a:pt x="0" y="69"/>
                    <a:pt x="0" y="68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65"/>
                    <a:pt x="6" y="64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58"/>
                    <a:pt x="1" y="56"/>
                    <a:pt x="2" y="54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9" y="53"/>
                    <a:pt x="9" y="52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5"/>
                    <a:pt x="5" y="43"/>
                    <a:pt x="6" y="41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1"/>
                    <a:pt x="14" y="40"/>
                    <a:pt x="15" y="39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3"/>
                    <a:pt x="12" y="31"/>
                    <a:pt x="13" y="29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1"/>
                    <a:pt x="21" y="30"/>
                    <a:pt x="22" y="2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0" y="22"/>
                    <a:pt x="21" y="20"/>
                    <a:pt x="23" y="19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9" y="22"/>
                    <a:pt x="30" y="21"/>
                    <a:pt x="31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0" y="13"/>
                    <a:pt x="32" y="12"/>
                    <a:pt x="34" y="11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9" y="15"/>
                    <a:pt x="41" y="14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2" y="6"/>
                    <a:pt x="44" y="5"/>
                    <a:pt x="46" y="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1" y="10"/>
                    <a:pt x="52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2"/>
                    <a:pt x="58" y="1"/>
                    <a:pt x="60" y="1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3" y="7"/>
                    <a:pt x="65" y="7"/>
                    <a:pt x="66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0"/>
                    <a:pt x="69" y="0"/>
                    <a:pt x="70" y="0"/>
                  </a:cubicBezTo>
                  <a:cubicBezTo>
                    <a:pt x="71" y="0"/>
                    <a:pt x="72" y="0"/>
                    <a:pt x="73" y="0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6" y="7"/>
                    <a:pt x="77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3" y="1"/>
                    <a:pt x="85" y="2"/>
                    <a:pt x="87" y="2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8" y="9"/>
                    <a:pt x="90" y="10"/>
                    <a:pt x="91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6" y="5"/>
                    <a:pt x="98" y="6"/>
                    <a:pt x="100" y="7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100" y="14"/>
                    <a:pt x="101" y="15"/>
                    <a:pt x="103" y="15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9" y="12"/>
                    <a:pt x="111" y="13"/>
                    <a:pt x="112" y="14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11" y="21"/>
                    <a:pt x="112" y="22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8" y="19"/>
                    <a:pt x="118" y="19"/>
                    <a:pt x="118" y="19"/>
                  </a:cubicBezTo>
                  <a:cubicBezTo>
                    <a:pt x="120" y="20"/>
                    <a:pt x="121" y="22"/>
                    <a:pt x="122" y="23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9" y="29"/>
                    <a:pt x="119" y="29"/>
                    <a:pt x="119" y="29"/>
                  </a:cubicBezTo>
                  <a:cubicBezTo>
                    <a:pt x="120" y="30"/>
                    <a:pt x="121" y="31"/>
                    <a:pt x="121" y="32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9" y="31"/>
                    <a:pt x="130" y="33"/>
                    <a:pt x="131" y="34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7" y="40"/>
                    <a:pt x="128" y="41"/>
                    <a:pt x="128" y="43"/>
                  </a:cubicBezTo>
                  <a:cubicBezTo>
                    <a:pt x="128" y="43"/>
                    <a:pt x="128" y="43"/>
                    <a:pt x="128" y="43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5" y="43"/>
                    <a:pt x="136" y="45"/>
                    <a:pt x="137" y="47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2" y="52"/>
                    <a:pt x="132" y="53"/>
                    <a:pt x="133" y="54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9" y="54"/>
                    <a:pt x="139" y="54"/>
                    <a:pt x="139" y="54"/>
                  </a:cubicBezTo>
                  <a:cubicBezTo>
                    <a:pt x="140" y="56"/>
                    <a:pt x="140" y="58"/>
                    <a:pt x="140" y="60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4" y="64"/>
                    <a:pt x="134" y="65"/>
                    <a:pt x="135" y="67"/>
                  </a:cubicBezTo>
                  <a:cubicBezTo>
                    <a:pt x="135" y="67"/>
                    <a:pt x="135" y="67"/>
                    <a:pt x="135" y="67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1" y="70"/>
                    <a:pt x="141" y="71"/>
                  </a:cubicBezTo>
                  <a:cubicBezTo>
                    <a:pt x="141" y="72"/>
                    <a:pt x="141" y="73"/>
                    <a:pt x="141" y="74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34" y="77"/>
                    <a:pt x="134" y="78"/>
                    <a:pt x="134" y="80"/>
                  </a:cubicBezTo>
                  <a:cubicBezTo>
                    <a:pt x="134" y="80"/>
                    <a:pt x="134" y="80"/>
                    <a:pt x="134" y="80"/>
                  </a:cubicBezTo>
                  <a:cubicBezTo>
                    <a:pt x="140" y="82"/>
                    <a:pt x="140" y="82"/>
                    <a:pt x="140" y="82"/>
                  </a:cubicBezTo>
                  <a:cubicBezTo>
                    <a:pt x="140" y="84"/>
                    <a:pt x="140" y="86"/>
                    <a:pt x="139" y="88"/>
                  </a:cubicBezTo>
                  <a:cubicBezTo>
                    <a:pt x="133" y="87"/>
                    <a:pt x="133" y="87"/>
                    <a:pt x="133" y="87"/>
                  </a:cubicBezTo>
                  <a:cubicBezTo>
                    <a:pt x="133" y="88"/>
                    <a:pt x="133" y="88"/>
                    <a:pt x="133" y="88"/>
                  </a:cubicBezTo>
                  <a:cubicBezTo>
                    <a:pt x="132" y="89"/>
                    <a:pt x="132" y="90"/>
                    <a:pt x="131" y="92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7"/>
                    <a:pt x="135" y="99"/>
                    <a:pt x="134" y="101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101"/>
                    <a:pt x="127" y="102"/>
                    <a:pt x="126" y="103"/>
                  </a:cubicBezTo>
                  <a:cubicBezTo>
                    <a:pt x="126" y="104"/>
                    <a:pt x="126" y="104"/>
                    <a:pt x="126" y="104"/>
                  </a:cubicBezTo>
                  <a:cubicBezTo>
                    <a:pt x="131" y="108"/>
                    <a:pt x="131" y="108"/>
                    <a:pt x="131" y="108"/>
                  </a:cubicBezTo>
                  <a:cubicBezTo>
                    <a:pt x="130" y="109"/>
                    <a:pt x="129" y="111"/>
                    <a:pt x="127" y="113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1" y="110"/>
                    <a:pt x="121" y="110"/>
                    <a:pt x="121" y="110"/>
                  </a:cubicBezTo>
                  <a:cubicBezTo>
                    <a:pt x="121" y="111"/>
                    <a:pt x="120" y="112"/>
                    <a:pt x="119" y="114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22" y="119"/>
                    <a:pt x="122" y="119"/>
                    <a:pt x="122" y="119"/>
                  </a:cubicBezTo>
                  <a:cubicBezTo>
                    <a:pt x="121" y="120"/>
                    <a:pt x="120" y="122"/>
                    <a:pt x="118" y="123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2" y="120"/>
                    <a:pt x="111" y="121"/>
                    <a:pt x="109" y="122"/>
                  </a:cubicBezTo>
                  <a:cubicBezTo>
                    <a:pt x="109" y="122"/>
                    <a:pt x="109" y="122"/>
                    <a:pt x="109" y="122"/>
                  </a:cubicBezTo>
                  <a:cubicBezTo>
                    <a:pt x="112" y="128"/>
                    <a:pt x="112" y="128"/>
                    <a:pt x="112" y="128"/>
                  </a:cubicBezTo>
                  <a:cubicBezTo>
                    <a:pt x="111" y="129"/>
                    <a:pt x="109" y="130"/>
                    <a:pt x="107" y="131"/>
                  </a:cubicBezTo>
                  <a:cubicBezTo>
                    <a:pt x="103" y="126"/>
                    <a:pt x="103" y="126"/>
                    <a:pt x="103" y="126"/>
                  </a:cubicBezTo>
                  <a:cubicBezTo>
                    <a:pt x="103" y="127"/>
                    <a:pt x="103" y="127"/>
                    <a:pt x="103" y="127"/>
                  </a:cubicBezTo>
                  <a:cubicBezTo>
                    <a:pt x="101" y="127"/>
                    <a:pt x="100" y="128"/>
                    <a:pt x="99" y="129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100" y="135"/>
                    <a:pt x="100" y="135"/>
                    <a:pt x="100" y="135"/>
                  </a:cubicBezTo>
                  <a:cubicBezTo>
                    <a:pt x="98" y="136"/>
                    <a:pt x="96" y="137"/>
                    <a:pt x="95" y="137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90" y="132"/>
                    <a:pt x="88" y="133"/>
                    <a:pt x="87" y="133"/>
                  </a:cubicBezTo>
                  <a:cubicBezTo>
                    <a:pt x="87" y="133"/>
                    <a:pt x="87" y="133"/>
                    <a:pt x="87" y="133"/>
                  </a:cubicBezTo>
                  <a:cubicBezTo>
                    <a:pt x="87" y="140"/>
                    <a:pt x="87" y="140"/>
                    <a:pt x="87" y="140"/>
                  </a:cubicBezTo>
                  <a:cubicBezTo>
                    <a:pt x="85" y="140"/>
                    <a:pt x="83" y="141"/>
                    <a:pt x="81" y="141"/>
                  </a:cubicBezTo>
                  <a:cubicBezTo>
                    <a:pt x="79" y="135"/>
                    <a:pt x="79" y="135"/>
                    <a:pt x="79" y="135"/>
                  </a:cubicBezTo>
                  <a:cubicBezTo>
                    <a:pt x="79" y="135"/>
                    <a:pt x="79" y="135"/>
                    <a:pt x="79" y="135"/>
                  </a:cubicBezTo>
                  <a:cubicBezTo>
                    <a:pt x="77" y="135"/>
                    <a:pt x="76" y="135"/>
                    <a:pt x="74" y="135"/>
                  </a:cubicBezTo>
                  <a:cubicBezTo>
                    <a:pt x="74" y="135"/>
                    <a:pt x="74" y="135"/>
                    <a:pt x="74" y="135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2" y="142"/>
                    <a:pt x="71" y="142"/>
                    <a:pt x="70" y="142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5" name="Rectangle 44"/>
            <p:cNvSpPr/>
            <p:nvPr>
              <p:custDataLst>
                <p:tags r:id="rId5"/>
              </p:custDataLst>
            </p:nvPr>
          </p:nvSpPr>
          <p:spPr>
            <a:xfrm>
              <a:off x="5572823" y="1581727"/>
              <a:ext cx="1008000" cy="788507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bg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llective  Wisdom</a:t>
              </a:r>
              <a:endParaRPr lang="en-US" sz="2400" dirty="0">
                <a:solidFill>
                  <a:schemeClr val="bg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3413342" y="2375990"/>
            <a:ext cx="560694" cy="301148"/>
            <a:chOff x="2046288" y="2765425"/>
            <a:chExt cx="285750" cy="285750"/>
          </a:xfrm>
          <a:solidFill>
            <a:schemeClr val="bg1"/>
          </a:solidFill>
        </p:grpSpPr>
        <p:sp>
          <p:nvSpPr>
            <p:cNvPr id="47" name="Freeform 114"/>
            <p:cNvSpPr>
              <a:spLocks noEditPoints="1"/>
            </p:cNvSpPr>
            <p:nvPr/>
          </p:nvSpPr>
          <p:spPr bwMode="auto">
            <a:xfrm>
              <a:off x="2141538" y="2784475"/>
              <a:ext cx="95250" cy="38100"/>
            </a:xfrm>
            <a:custGeom>
              <a:avLst/>
              <a:gdLst>
                <a:gd name="T0" fmla="*/ 30 w 298"/>
                <a:gd name="T1" fmla="*/ 30 h 120"/>
                <a:gd name="T2" fmla="*/ 268 w 298"/>
                <a:gd name="T3" fmla="*/ 30 h 120"/>
                <a:gd name="T4" fmla="*/ 268 w 298"/>
                <a:gd name="T5" fmla="*/ 90 h 120"/>
                <a:gd name="T6" fmla="*/ 30 w 298"/>
                <a:gd name="T7" fmla="*/ 90 h 120"/>
                <a:gd name="T8" fmla="*/ 30 w 298"/>
                <a:gd name="T9" fmla="*/ 30 h 120"/>
                <a:gd name="T10" fmla="*/ 15 w 298"/>
                <a:gd name="T11" fmla="*/ 120 h 120"/>
                <a:gd name="T12" fmla="*/ 283 w 298"/>
                <a:gd name="T13" fmla="*/ 120 h 120"/>
                <a:gd name="T14" fmla="*/ 287 w 298"/>
                <a:gd name="T15" fmla="*/ 119 h 120"/>
                <a:gd name="T16" fmla="*/ 290 w 298"/>
                <a:gd name="T17" fmla="*/ 119 h 120"/>
                <a:gd name="T18" fmla="*/ 292 w 298"/>
                <a:gd name="T19" fmla="*/ 116 h 120"/>
                <a:gd name="T20" fmla="*/ 294 w 298"/>
                <a:gd name="T21" fmla="*/ 115 h 120"/>
                <a:gd name="T22" fmla="*/ 296 w 298"/>
                <a:gd name="T23" fmla="*/ 113 h 120"/>
                <a:gd name="T24" fmla="*/ 297 w 298"/>
                <a:gd name="T25" fmla="*/ 110 h 120"/>
                <a:gd name="T26" fmla="*/ 298 w 298"/>
                <a:gd name="T27" fmla="*/ 108 h 120"/>
                <a:gd name="T28" fmla="*/ 298 w 298"/>
                <a:gd name="T29" fmla="*/ 105 h 120"/>
                <a:gd name="T30" fmla="*/ 298 w 298"/>
                <a:gd name="T31" fmla="*/ 15 h 120"/>
                <a:gd name="T32" fmla="*/ 298 w 298"/>
                <a:gd name="T33" fmla="*/ 12 h 120"/>
                <a:gd name="T34" fmla="*/ 297 w 298"/>
                <a:gd name="T35" fmla="*/ 9 h 120"/>
                <a:gd name="T36" fmla="*/ 296 w 298"/>
                <a:gd name="T37" fmla="*/ 6 h 120"/>
                <a:gd name="T38" fmla="*/ 294 w 298"/>
                <a:gd name="T39" fmla="*/ 4 h 120"/>
                <a:gd name="T40" fmla="*/ 292 w 298"/>
                <a:gd name="T41" fmla="*/ 2 h 120"/>
                <a:gd name="T42" fmla="*/ 290 w 298"/>
                <a:gd name="T43" fmla="*/ 1 h 120"/>
                <a:gd name="T44" fmla="*/ 287 w 298"/>
                <a:gd name="T45" fmla="*/ 0 h 120"/>
                <a:gd name="T46" fmla="*/ 283 w 298"/>
                <a:gd name="T47" fmla="*/ 0 h 120"/>
                <a:gd name="T48" fmla="*/ 15 w 298"/>
                <a:gd name="T49" fmla="*/ 0 h 120"/>
                <a:gd name="T50" fmla="*/ 11 w 298"/>
                <a:gd name="T51" fmla="*/ 0 h 120"/>
                <a:gd name="T52" fmla="*/ 8 w 298"/>
                <a:gd name="T53" fmla="*/ 1 h 120"/>
                <a:gd name="T54" fmla="*/ 6 w 298"/>
                <a:gd name="T55" fmla="*/ 2 h 120"/>
                <a:gd name="T56" fmla="*/ 4 w 298"/>
                <a:gd name="T57" fmla="*/ 4 h 120"/>
                <a:gd name="T58" fmla="*/ 2 w 298"/>
                <a:gd name="T59" fmla="*/ 6 h 120"/>
                <a:gd name="T60" fmla="*/ 1 w 298"/>
                <a:gd name="T61" fmla="*/ 9 h 120"/>
                <a:gd name="T62" fmla="*/ 0 w 298"/>
                <a:gd name="T63" fmla="*/ 12 h 120"/>
                <a:gd name="T64" fmla="*/ 0 w 298"/>
                <a:gd name="T65" fmla="*/ 15 h 120"/>
                <a:gd name="T66" fmla="*/ 0 w 298"/>
                <a:gd name="T67" fmla="*/ 105 h 120"/>
                <a:gd name="T68" fmla="*/ 0 w 298"/>
                <a:gd name="T69" fmla="*/ 108 h 120"/>
                <a:gd name="T70" fmla="*/ 1 w 298"/>
                <a:gd name="T71" fmla="*/ 110 h 120"/>
                <a:gd name="T72" fmla="*/ 2 w 298"/>
                <a:gd name="T73" fmla="*/ 113 h 120"/>
                <a:gd name="T74" fmla="*/ 4 w 298"/>
                <a:gd name="T75" fmla="*/ 115 h 120"/>
                <a:gd name="T76" fmla="*/ 6 w 298"/>
                <a:gd name="T77" fmla="*/ 116 h 120"/>
                <a:gd name="T78" fmla="*/ 8 w 298"/>
                <a:gd name="T79" fmla="*/ 119 h 120"/>
                <a:gd name="T80" fmla="*/ 11 w 298"/>
                <a:gd name="T81" fmla="*/ 119 h 120"/>
                <a:gd name="T82" fmla="*/ 15 w 298"/>
                <a:gd name="T83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98" h="120">
                  <a:moveTo>
                    <a:pt x="30" y="30"/>
                  </a:moveTo>
                  <a:lnTo>
                    <a:pt x="268" y="30"/>
                  </a:lnTo>
                  <a:lnTo>
                    <a:pt x="268" y="90"/>
                  </a:lnTo>
                  <a:lnTo>
                    <a:pt x="30" y="90"/>
                  </a:lnTo>
                  <a:lnTo>
                    <a:pt x="30" y="30"/>
                  </a:lnTo>
                  <a:close/>
                  <a:moveTo>
                    <a:pt x="15" y="120"/>
                  </a:moveTo>
                  <a:lnTo>
                    <a:pt x="283" y="120"/>
                  </a:lnTo>
                  <a:lnTo>
                    <a:pt x="287" y="119"/>
                  </a:lnTo>
                  <a:lnTo>
                    <a:pt x="290" y="119"/>
                  </a:lnTo>
                  <a:lnTo>
                    <a:pt x="292" y="116"/>
                  </a:lnTo>
                  <a:lnTo>
                    <a:pt x="294" y="115"/>
                  </a:lnTo>
                  <a:lnTo>
                    <a:pt x="296" y="113"/>
                  </a:lnTo>
                  <a:lnTo>
                    <a:pt x="297" y="110"/>
                  </a:lnTo>
                  <a:lnTo>
                    <a:pt x="298" y="108"/>
                  </a:lnTo>
                  <a:lnTo>
                    <a:pt x="298" y="105"/>
                  </a:lnTo>
                  <a:lnTo>
                    <a:pt x="298" y="15"/>
                  </a:lnTo>
                  <a:lnTo>
                    <a:pt x="298" y="12"/>
                  </a:lnTo>
                  <a:lnTo>
                    <a:pt x="297" y="9"/>
                  </a:lnTo>
                  <a:lnTo>
                    <a:pt x="296" y="6"/>
                  </a:lnTo>
                  <a:lnTo>
                    <a:pt x="294" y="4"/>
                  </a:lnTo>
                  <a:lnTo>
                    <a:pt x="292" y="2"/>
                  </a:lnTo>
                  <a:lnTo>
                    <a:pt x="290" y="1"/>
                  </a:lnTo>
                  <a:lnTo>
                    <a:pt x="287" y="0"/>
                  </a:lnTo>
                  <a:lnTo>
                    <a:pt x="283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1" y="110"/>
                  </a:lnTo>
                  <a:lnTo>
                    <a:pt x="2" y="113"/>
                  </a:lnTo>
                  <a:lnTo>
                    <a:pt x="4" y="115"/>
                  </a:lnTo>
                  <a:lnTo>
                    <a:pt x="6" y="116"/>
                  </a:lnTo>
                  <a:lnTo>
                    <a:pt x="8" y="119"/>
                  </a:lnTo>
                  <a:lnTo>
                    <a:pt x="11" y="119"/>
                  </a:lnTo>
                  <a:lnTo>
                    <a:pt x="15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15"/>
            <p:cNvSpPr>
              <a:spLocks/>
            </p:cNvSpPr>
            <p:nvPr/>
          </p:nvSpPr>
          <p:spPr bwMode="auto">
            <a:xfrm>
              <a:off x="2122488" y="2984500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1 w 120"/>
                <a:gd name="T5" fmla="*/ 0 h 30"/>
                <a:gd name="T6" fmla="*/ 8 w 120"/>
                <a:gd name="T7" fmla="*/ 1 h 30"/>
                <a:gd name="T8" fmla="*/ 6 w 120"/>
                <a:gd name="T9" fmla="*/ 2 h 30"/>
                <a:gd name="T10" fmla="*/ 4 w 120"/>
                <a:gd name="T11" fmla="*/ 4 h 30"/>
                <a:gd name="T12" fmla="*/ 2 w 120"/>
                <a:gd name="T13" fmla="*/ 6 h 30"/>
                <a:gd name="T14" fmla="*/ 1 w 120"/>
                <a:gd name="T15" fmla="*/ 10 h 30"/>
                <a:gd name="T16" fmla="*/ 0 w 120"/>
                <a:gd name="T17" fmla="*/ 12 h 30"/>
                <a:gd name="T18" fmla="*/ 0 w 120"/>
                <a:gd name="T19" fmla="*/ 15 h 30"/>
                <a:gd name="T20" fmla="*/ 0 w 120"/>
                <a:gd name="T21" fmla="*/ 18 h 30"/>
                <a:gd name="T22" fmla="*/ 1 w 120"/>
                <a:gd name="T23" fmla="*/ 21 h 30"/>
                <a:gd name="T24" fmla="*/ 2 w 120"/>
                <a:gd name="T25" fmla="*/ 24 h 30"/>
                <a:gd name="T26" fmla="*/ 4 w 120"/>
                <a:gd name="T27" fmla="*/ 26 h 30"/>
                <a:gd name="T28" fmla="*/ 6 w 120"/>
                <a:gd name="T29" fmla="*/ 28 h 30"/>
                <a:gd name="T30" fmla="*/ 8 w 120"/>
                <a:gd name="T31" fmla="*/ 29 h 30"/>
                <a:gd name="T32" fmla="*/ 11 w 120"/>
                <a:gd name="T33" fmla="*/ 30 h 30"/>
                <a:gd name="T34" fmla="*/ 15 w 120"/>
                <a:gd name="T35" fmla="*/ 30 h 30"/>
                <a:gd name="T36" fmla="*/ 105 w 120"/>
                <a:gd name="T37" fmla="*/ 30 h 30"/>
                <a:gd name="T38" fmla="*/ 107 w 120"/>
                <a:gd name="T39" fmla="*/ 30 h 30"/>
                <a:gd name="T40" fmla="*/ 110 w 120"/>
                <a:gd name="T41" fmla="*/ 29 h 30"/>
                <a:gd name="T42" fmla="*/ 112 w 120"/>
                <a:gd name="T43" fmla="*/ 28 h 30"/>
                <a:gd name="T44" fmla="*/ 114 w 120"/>
                <a:gd name="T45" fmla="*/ 26 h 30"/>
                <a:gd name="T46" fmla="*/ 116 w 120"/>
                <a:gd name="T47" fmla="*/ 24 h 30"/>
                <a:gd name="T48" fmla="*/ 117 w 120"/>
                <a:gd name="T49" fmla="*/ 21 h 30"/>
                <a:gd name="T50" fmla="*/ 118 w 120"/>
                <a:gd name="T51" fmla="*/ 18 h 30"/>
                <a:gd name="T52" fmla="*/ 120 w 120"/>
                <a:gd name="T53" fmla="*/ 15 h 30"/>
                <a:gd name="T54" fmla="*/ 118 w 120"/>
                <a:gd name="T55" fmla="*/ 12 h 30"/>
                <a:gd name="T56" fmla="*/ 117 w 120"/>
                <a:gd name="T57" fmla="*/ 10 h 30"/>
                <a:gd name="T58" fmla="*/ 116 w 120"/>
                <a:gd name="T59" fmla="*/ 6 h 30"/>
                <a:gd name="T60" fmla="*/ 114 w 120"/>
                <a:gd name="T61" fmla="*/ 4 h 30"/>
                <a:gd name="T62" fmla="*/ 112 w 120"/>
                <a:gd name="T63" fmla="*/ 2 h 30"/>
                <a:gd name="T64" fmla="*/ 110 w 120"/>
                <a:gd name="T65" fmla="*/ 1 h 30"/>
                <a:gd name="T66" fmla="*/ 107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1" y="30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7" y="30"/>
                  </a:lnTo>
                  <a:lnTo>
                    <a:pt x="110" y="29"/>
                  </a:lnTo>
                  <a:lnTo>
                    <a:pt x="112" y="28"/>
                  </a:lnTo>
                  <a:lnTo>
                    <a:pt x="114" y="26"/>
                  </a:lnTo>
                  <a:lnTo>
                    <a:pt x="116" y="24"/>
                  </a:lnTo>
                  <a:lnTo>
                    <a:pt x="117" y="21"/>
                  </a:lnTo>
                  <a:lnTo>
                    <a:pt x="118" y="18"/>
                  </a:lnTo>
                  <a:lnTo>
                    <a:pt x="120" y="15"/>
                  </a:lnTo>
                  <a:lnTo>
                    <a:pt x="118" y="12"/>
                  </a:lnTo>
                  <a:lnTo>
                    <a:pt x="117" y="10"/>
                  </a:lnTo>
                  <a:lnTo>
                    <a:pt x="116" y="6"/>
                  </a:lnTo>
                  <a:lnTo>
                    <a:pt x="114" y="4"/>
                  </a:lnTo>
                  <a:lnTo>
                    <a:pt x="112" y="2"/>
                  </a:lnTo>
                  <a:lnTo>
                    <a:pt x="110" y="1"/>
                  </a:lnTo>
                  <a:lnTo>
                    <a:pt x="107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16"/>
            <p:cNvSpPr>
              <a:spLocks/>
            </p:cNvSpPr>
            <p:nvPr/>
          </p:nvSpPr>
          <p:spPr bwMode="auto">
            <a:xfrm>
              <a:off x="2217738" y="2984500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2 w 120"/>
                <a:gd name="T5" fmla="*/ 0 h 30"/>
                <a:gd name="T6" fmla="*/ 10 w 120"/>
                <a:gd name="T7" fmla="*/ 1 h 30"/>
                <a:gd name="T8" fmla="*/ 7 w 120"/>
                <a:gd name="T9" fmla="*/ 2 h 30"/>
                <a:gd name="T10" fmla="*/ 5 w 120"/>
                <a:gd name="T11" fmla="*/ 4 h 30"/>
                <a:gd name="T12" fmla="*/ 4 w 120"/>
                <a:gd name="T13" fmla="*/ 6 h 30"/>
                <a:gd name="T14" fmla="*/ 1 w 120"/>
                <a:gd name="T15" fmla="*/ 10 h 30"/>
                <a:gd name="T16" fmla="*/ 1 w 120"/>
                <a:gd name="T17" fmla="*/ 12 h 30"/>
                <a:gd name="T18" fmla="*/ 0 w 120"/>
                <a:gd name="T19" fmla="*/ 15 h 30"/>
                <a:gd name="T20" fmla="*/ 1 w 120"/>
                <a:gd name="T21" fmla="*/ 18 h 30"/>
                <a:gd name="T22" fmla="*/ 1 w 120"/>
                <a:gd name="T23" fmla="*/ 21 h 30"/>
                <a:gd name="T24" fmla="*/ 4 w 120"/>
                <a:gd name="T25" fmla="*/ 24 h 30"/>
                <a:gd name="T26" fmla="*/ 5 w 120"/>
                <a:gd name="T27" fmla="*/ 26 h 30"/>
                <a:gd name="T28" fmla="*/ 7 w 120"/>
                <a:gd name="T29" fmla="*/ 28 h 30"/>
                <a:gd name="T30" fmla="*/ 10 w 120"/>
                <a:gd name="T31" fmla="*/ 29 h 30"/>
                <a:gd name="T32" fmla="*/ 12 w 120"/>
                <a:gd name="T33" fmla="*/ 30 h 30"/>
                <a:gd name="T34" fmla="*/ 15 w 120"/>
                <a:gd name="T35" fmla="*/ 30 h 30"/>
                <a:gd name="T36" fmla="*/ 105 w 120"/>
                <a:gd name="T37" fmla="*/ 30 h 30"/>
                <a:gd name="T38" fmla="*/ 108 w 120"/>
                <a:gd name="T39" fmla="*/ 30 h 30"/>
                <a:gd name="T40" fmla="*/ 112 w 120"/>
                <a:gd name="T41" fmla="*/ 29 h 30"/>
                <a:gd name="T42" fmla="*/ 114 w 120"/>
                <a:gd name="T43" fmla="*/ 28 h 30"/>
                <a:gd name="T44" fmla="*/ 116 w 120"/>
                <a:gd name="T45" fmla="*/ 26 h 30"/>
                <a:gd name="T46" fmla="*/ 118 w 120"/>
                <a:gd name="T47" fmla="*/ 24 h 30"/>
                <a:gd name="T48" fmla="*/ 119 w 120"/>
                <a:gd name="T49" fmla="*/ 21 h 30"/>
                <a:gd name="T50" fmla="*/ 120 w 120"/>
                <a:gd name="T51" fmla="*/ 18 h 30"/>
                <a:gd name="T52" fmla="*/ 120 w 120"/>
                <a:gd name="T53" fmla="*/ 15 h 30"/>
                <a:gd name="T54" fmla="*/ 120 w 120"/>
                <a:gd name="T55" fmla="*/ 12 h 30"/>
                <a:gd name="T56" fmla="*/ 119 w 120"/>
                <a:gd name="T57" fmla="*/ 10 h 30"/>
                <a:gd name="T58" fmla="*/ 118 w 120"/>
                <a:gd name="T59" fmla="*/ 6 h 30"/>
                <a:gd name="T60" fmla="*/ 116 w 120"/>
                <a:gd name="T61" fmla="*/ 4 h 30"/>
                <a:gd name="T62" fmla="*/ 114 w 120"/>
                <a:gd name="T63" fmla="*/ 2 h 30"/>
                <a:gd name="T64" fmla="*/ 112 w 120"/>
                <a:gd name="T65" fmla="*/ 1 h 30"/>
                <a:gd name="T66" fmla="*/ 108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4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4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8" y="30"/>
                  </a:lnTo>
                  <a:lnTo>
                    <a:pt x="112" y="29"/>
                  </a:lnTo>
                  <a:lnTo>
                    <a:pt x="114" y="28"/>
                  </a:lnTo>
                  <a:lnTo>
                    <a:pt x="116" y="26"/>
                  </a:lnTo>
                  <a:lnTo>
                    <a:pt x="118" y="24"/>
                  </a:lnTo>
                  <a:lnTo>
                    <a:pt x="119" y="21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0" y="12"/>
                  </a:lnTo>
                  <a:lnTo>
                    <a:pt x="119" y="10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17"/>
            <p:cNvSpPr>
              <a:spLocks noEditPoints="1"/>
            </p:cNvSpPr>
            <p:nvPr/>
          </p:nvSpPr>
          <p:spPr bwMode="auto">
            <a:xfrm>
              <a:off x="2046288" y="2765425"/>
              <a:ext cx="285750" cy="285750"/>
            </a:xfrm>
            <a:custGeom>
              <a:avLst/>
              <a:gdLst>
                <a:gd name="T0" fmla="*/ 868 w 898"/>
                <a:gd name="T1" fmla="*/ 268 h 898"/>
                <a:gd name="T2" fmla="*/ 204 w 898"/>
                <a:gd name="T3" fmla="*/ 807 h 898"/>
                <a:gd name="T4" fmla="*/ 186 w 898"/>
                <a:gd name="T5" fmla="*/ 793 h 898"/>
                <a:gd name="T6" fmla="*/ 180 w 898"/>
                <a:gd name="T7" fmla="*/ 598 h 898"/>
                <a:gd name="T8" fmla="*/ 715 w 898"/>
                <a:gd name="T9" fmla="*/ 788 h 898"/>
                <a:gd name="T10" fmla="*/ 698 w 898"/>
                <a:gd name="T11" fmla="*/ 805 h 898"/>
                <a:gd name="T12" fmla="*/ 598 w 898"/>
                <a:gd name="T13" fmla="*/ 868 h 898"/>
                <a:gd name="T14" fmla="*/ 300 w 898"/>
                <a:gd name="T15" fmla="*/ 868 h 898"/>
                <a:gd name="T16" fmla="*/ 300 w 898"/>
                <a:gd name="T17" fmla="*/ 868 h 898"/>
                <a:gd name="T18" fmla="*/ 622 w 898"/>
                <a:gd name="T19" fmla="*/ 32 h 898"/>
                <a:gd name="T20" fmla="*/ 665 w 898"/>
                <a:gd name="T21" fmla="*/ 50 h 898"/>
                <a:gd name="T22" fmla="*/ 698 w 898"/>
                <a:gd name="T23" fmla="*/ 83 h 898"/>
                <a:gd name="T24" fmla="*/ 716 w 898"/>
                <a:gd name="T25" fmla="*/ 126 h 898"/>
                <a:gd name="T26" fmla="*/ 180 w 898"/>
                <a:gd name="T27" fmla="*/ 210 h 898"/>
                <a:gd name="T28" fmla="*/ 185 w 898"/>
                <a:gd name="T29" fmla="*/ 114 h 898"/>
                <a:gd name="T30" fmla="*/ 208 w 898"/>
                <a:gd name="T31" fmla="*/ 74 h 898"/>
                <a:gd name="T32" fmla="*/ 243 w 898"/>
                <a:gd name="T33" fmla="*/ 45 h 898"/>
                <a:gd name="T34" fmla="*/ 287 w 898"/>
                <a:gd name="T35" fmla="*/ 30 h 898"/>
                <a:gd name="T36" fmla="*/ 718 w 898"/>
                <a:gd name="T37" fmla="*/ 568 h 898"/>
                <a:gd name="T38" fmla="*/ 30 w 898"/>
                <a:gd name="T39" fmla="*/ 508 h 898"/>
                <a:gd name="T40" fmla="*/ 883 w 898"/>
                <a:gd name="T41" fmla="*/ 239 h 898"/>
                <a:gd name="T42" fmla="*/ 747 w 898"/>
                <a:gd name="T43" fmla="*/ 135 h 898"/>
                <a:gd name="T44" fmla="*/ 730 w 898"/>
                <a:gd name="T45" fmla="*/ 79 h 898"/>
                <a:gd name="T46" fmla="*/ 694 w 898"/>
                <a:gd name="T47" fmla="*/ 34 h 898"/>
                <a:gd name="T48" fmla="*/ 642 w 898"/>
                <a:gd name="T49" fmla="*/ 6 h 898"/>
                <a:gd name="T50" fmla="*/ 300 w 898"/>
                <a:gd name="T51" fmla="*/ 0 h 898"/>
                <a:gd name="T52" fmla="*/ 242 w 898"/>
                <a:gd name="T53" fmla="*/ 12 h 898"/>
                <a:gd name="T54" fmla="*/ 194 w 898"/>
                <a:gd name="T55" fmla="*/ 44 h 898"/>
                <a:gd name="T56" fmla="*/ 161 w 898"/>
                <a:gd name="T57" fmla="*/ 92 h 898"/>
                <a:gd name="T58" fmla="*/ 150 w 898"/>
                <a:gd name="T59" fmla="*/ 150 h 898"/>
                <a:gd name="T60" fmla="*/ 12 w 898"/>
                <a:gd name="T61" fmla="*/ 240 h 898"/>
                <a:gd name="T62" fmla="*/ 2 w 898"/>
                <a:gd name="T63" fmla="*/ 246 h 898"/>
                <a:gd name="T64" fmla="*/ 0 w 898"/>
                <a:gd name="T65" fmla="*/ 523 h 898"/>
                <a:gd name="T66" fmla="*/ 4 w 898"/>
                <a:gd name="T67" fmla="*/ 534 h 898"/>
                <a:gd name="T68" fmla="*/ 15 w 898"/>
                <a:gd name="T69" fmla="*/ 538 h 898"/>
                <a:gd name="T70" fmla="*/ 113 w 898"/>
                <a:gd name="T71" fmla="*/ 536 h 898"/>
                <a:gd name="T72" fmla="*/ 120 w 898"/>
                <a:gd name="T73" fmla="*/ 526 h 898"/>
                <a:gd name="T74" fmla="*/ 150 w 898"/>
                <a:gd name="T75" fmla="*/ 778 h 898"/>
                <a:gd name="T76" fmla="*/ 155 w 898"/>
                <a:gd name="T77" fmla="*/ 799 h 898"/>
                <a:gd name="T78" fmla="*/ 187 w 898"/>
                <a:gd name="T79" fmla="*/ 833 h 898"/>
                <a:gd name="T80" fmla="*/ 210 w 898"/>
                <a:gd name="T81" fmla="*/ 838 h 898"/>
                <a:gd name="T82" fmla="*/ 212 w 898"/>
                <a:gd name="T83" fmla="*/ 891 h 898"/>
                <a:gd name="T84" fmla="*/ 221 w 898"/>
                <a:gd name="T85" fmla="*/ 897 h 898"/>
                <a:gd name="T86" fmla="*/ 320 w 898"/>
                <a:gd name="T87" fmla="*/ 897 h 898"/>
                <a:gd name="T88" fmla="*/ 327 w 898"/>
                <a:gd name="T89" fmla="*/ 888 h 898"/>
                <a:gd name="T90" fmla="*/ 568 w 898"/>
                <a:gd name="T91" fmla="*/ 838 h 898"/>
                <a:gd name="T92" fmla="*/ 572 w 898"/>
                <a:gd name="T93" fmla="*/ 891 h 898"/>
                <a:gd name="T94" fmla="*/ 580 w 898"/>
                <a:gd name="T95" fmla="*/ 897 h 898"/>
                <a:gd name="T96" fmla="*/ 680 w 898"/>
                <a:gd name="T97" fmla="*/ 897 h 898"/>
                <a:gd name="T98" fmla="*/ 687 w 898"/>
                <a:gd name="T99" fmla="*/ 888 h 898"/>
                <a:gd name="T100" fmla="*/ 694 w 898"/>
                <a:gd name="T101" fmla="*/ 837 h 898"/>
                <a:gd name="T102" fmla="*/ 720 w 898"/>
                <a:gd name="T103" fmla="*/ 826 h 898"/>
                <a:gd name="T104" fmla="*/ 745 w 898"/>
                <a:gd name="T105" fmla="*/ 794 h 898"/>
                <a:gd name="T106" fmla="*/ 748 w 898"/>
                <a:gd name="T107" fmla="*/ 268 h 898"/>
                <a:gd name="T108" fmla="*/ 779 w 898"/>
                <a:gd name="T109" fmla="*/ 530 h 898"/>
                <a:gd name="T110" fmla="*/ 788 w 898"/>
                <a:gd name="T111" fmla="*/ 537 h 898"/>
                <a:gd name="T112" fmla="*/ 886 w 898"/>
                <a:gd name="T113" fmla="*/ 538 h 898"/>
                <a:gd name="T114" fmla="*/ 895 w 898"/>
                <a:gd name="T115" fmla="*/ 532 h 898"/>
                <a:gd name="T116" fmla="*/ 898 w 898"/>
                <a:gd name="T117" fmla="*/ 253 h 898"/>
                <a:gd name="T118" fmla="*/ 894 w 898"/>
                <a:gd name="T119" fmla="*/ 244 h 898"/>
                <a:gd name="T120" fmla="*/ 883 w 898"/>
                <a:gd name="T121" fmla="*/ 239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8" h="898">
                  <a:moveTo>
                    <a:pt x="868" y="508"/>
                  </a:moveTo>
                  <a:lnTo>
                    <a:pt x="808" y="508"/>
                  </a:lnTo>
                  <a:lnTo>
                    <a:pt x="808" y="268"/>
                  </a:lnTo>
                  <a:lnTo>
                    <a:pt x="868" y="268"/>
                  </a:lnTo>
                  <a:lnTo>
                    <a:pt x="868" y="508"/>
                  </a:lnTo>
                  <a:close/>
                  <a:moveTo>
                    <a:pt x="688" y="808"/>
                  </a:moveTo>
                  <a:lnTo>
                    <a:pt x="210" y="808"/>
                  </a:lnTo>
                  <a:lnTo>
                    <a:pt x="204" y="807"/>
                  </a:lnTo>
                  <a:lnTo>
                    <a:pt x="199" y="805"/>
                  </a:lnTo>
                  <a:lnTo>
                    <a:pt x="195" y="802"/>
                  </a:lnTo>
                  <a:lnTo>
                    <a:pt x="189" y="797"/>
                  </a:lnTo>
                  <a:lnTo>
                    <a:pt x="186" y="793"/>
                  </a:lnTo>
                  <a:lnTo>
                    <a:pt x="182" y="788"/>
                  </a:lnTo>
                  <a:lnTo>
                    <a:pt x="180" y="783"/>
                  </a:lnTo>
                  <a:lnTo>
                    <a:pt x="180" y="778"/>
                  </a:lnTo>
                  <a:lnTo>
                    <a:pt x="180" y="598"/>
                  </a:lnTo>
                  <a:lnTo>
                    <a:pt x="718" y="598"/>
                  </a:lnTo>
                  <a:lnTo>
                    <a:pt x="718" y="778"/>
                  </a:lnTo>
                  <a:lnTo>
                    <a:pt x="717" y="783"/>
                  </a:lnTo>
                  <a:lnTo>
                    <a:pt x="715" y="788"/>
                  </a:lnTo>
                  <a:lnTo>
                    <a:pt x="712" y="793"/>
                  </a:lnTo>
                  <a:lnTo>
                    <a:pt x="708" y="797"/>
                  </a:lnTo>
                  <a:lnTo>
                    <a:pt x="703" y="802"/>
                  </a:lnTo>
                  <a:lnTo>
                    <a:pt x="698" y="805"/>
                  </a:lnTo>
                  <a:lnTo>
                    <a:pt x="694" y="807"/>
                  </a:lnTo>
                  <a:lnTo>
                    <a:pt x="688" y="808"/>
                  </a:lnTo>
                  <a:close/>
                  <a:moveTo>
                    <a:pt x="658" y="868"/>
                  </a:moveTo>
                  <a:lnTo>
                    <a:pt x="598" y="868"/>
                  </a:lnTo>
                  <a:lnTo>
                    <a:pt x="598" y="838"/>
                  </a:lnTo>
                  <a:lnTo>
                    <a:pt x="658" y="838"/>
                  </a:lnTo>
                  <a:lnTo>
                    <a:pt x="658" y="868"/>
                  </a:lnTo>
                  <a:close/>
                  <a:moveTo>
                    <a:pt x="300" y="868"/>
                  </a:moveTo>
                  <a:lnTo>
                    <a:pt x="240" y="868"/>
                  </a:lnTo>
                  <a:lnTo>
                    <a:pt x="240" y="838"/>
                  </a:lnTo>
                  <a:lnTo>
                    <a:pt x="300" y="838"/>
                  </a:lnTo>
                  <a:lnTo>
                    <a:pt x="300" y="868"/>
                  </a:lnTo>
                  <a:close/>
                  <a:moveTo>
                    <a:pt x="300" y="30"/>
                  </a:moveTo>
                  <a:lnTo>
                    <a:pt x="598" y="30"/>
                  </a:lnTo>
                  <a:lnTo>
                    <a:pt x="610" y="30"/>
                  </a:lnTo>
                  <a:lnTo>
                    <a:pt x="622" y="32"/>
                  </a:lnTo>
                  <a:lnTo>
                    <a:pt x="634" y="35"/>
                  </a:lnTo>
                  <a:lnTo>
                    <a:pt x="644" y="39"/>
                  </a:lnTo>
                  <a:lnTo>
                    <a:pt x="655" y="45"/>
                  </a:lnTo>
                  <a:lnTo>
                    <a:pt x="665" y="50"/>
                  </a:lnTo>
                  <a:lnTo>
                    <a:pt x="674" y="58"/>
                  </a:lnTo>
                  <a:lnTo>
                    <a:pt x="683" y="65"/>
                  </a:lnTo>
                  <a:lnTo>
                    <a:pt x="690" y="74"/>
                  </a:lnTo>
                  <a:lnTo>
                    <a:pt x="698" y="83"/>
                  </a:lnTo>
                  <a:lnTo>
                    <a:pt x="703" y="93"/>
                  </a:lnTo>
                  <a:lnTo>
                    <a:pt x="709" y="104"/>
                  </a:lnTo>
                  <a:lnTo>
                    <a:pt x="713" y="114"/>
                  </a:lnTo>
                  <a:lnTo>
                    <a:pt x="716" y="126"/>
                  </a:lnTo>
                  <a:lnTo>
                    <a:pt x="717" y="137"/>
                  </a:lnTo>
                  <a:lnTo>
                    <a:pt x="718" y="150"/>
                  </a:lnTo>
                  <a:lnTo>
                    <a:pt x="718" y="210"/>
                  </a:lnTo>
                  <a:lnTo>
                    <a:pt x="180" y="210"/>
                  </a:lnTo>
                  <a:lnTo>
                    <a:pt x="180" y="150"/>
                  </a:lnTo>
                  <a:lnTo>
                    <a:pt x="180" y="137"/>
                  </a:lnTo>
                  <a:lnTo>
                    <a:pt x="182" y="126"/>
                  </a:lnTo>
                  <a:lnTo>
                    <a:pt x="185" y="114"/>
                  </a:lnTo>
                  <a:lnTo>
                    <a:pt x="189" y="104"/>
                  </a:lnTo>
                  <a:lnTo>
                    <a:pt x="194" y="93"/>
                  </a:lnTo>
                  <a:lnTo>
                    <a:pt x="200" y="83"/>
                  </a:lnTo>
                  <a:lnTo>
                    <a:pt x="208" y="74"/>
                  </a:lnTo>
                  <a:lnTo>
                    <a:pt x="215" y="65"/>
                  </a:lnTo>
                  <a:lnTo>
                    <a:pt x="224" y="58"/>
                  </a:lnTo>
                  <a:lnTo>
                    <a:pt x="233" y="50"/>
                  </a:lnTo>
                  <a:lnTo>
                    <a:pt x="243" y="45"/>
                  </a:lnTo>
                  <a:lnTo>
                    <a:pt x="254" y="39"/>
                  </a:lnTo>
                  <a:lnTo>
                    <a:pt x="264" y="35"/>
                  </a:lnTo>
                  <a:lnTo>
                    <a:pt x="275" y="32"/>
                  </a:lnTo>
                  <a:lnTo>
                    <a:pt x="287" y="30"/>
                  </a:lnTo>
                  <a:lnTo>
                    <a:pt x="300" y="30"/>
                  </a:lnTo>
                  <a:close/>
                  <a:moveTo>
                    <a:pt x="180" y="239"/>
                  </a:moveTo>
                  <a:lnTo>
                    <a:pt x="718" y="239"/>
                  </a:lnTo>
                  <a:lnTo>
                    <a:pt x="718" y="568"/>
                  </a:lnTo>
                  <a:lnTo>
                    <a:pt x="180" y="568"/>
                  </a:lnTo>
                  <a:lnTo>
                    <a:pt x="180" y="239"/>
                  </a:lnTo>
                  <a:close/>
                  <a:moveTo>
                    <a:pt x="90" y="508"/>
                  </a:moveTo>
                  <a:lnTo>
                    <a:pt x="30" y="508"/>
                  </a:lnTo>
                  <a:lnTo>
                    <a:pt x="30" y="268"/>
                  </a:lnTo>
                  <a:lnTo>
                    <a:pt x="90" y="268"/>
                  </a:lnTo>
                  <a:lnTo>
                    <a:pt x="90" y="508"/>
                  </a:lnTo>
                  <a:close/>
                  <a:moveTo>
                    <a:pt x="883" y="239"/>
                  </a:moveTo>
                  <a:lnTo>
                    <a:pt x="793" y="239"/>
                  </a:lnTo>
                  <a:lnTo>
                    <a:pt x="748" y="239"/>
                  </a:lnTo>
                  <a:lnTo>
                    <a:pt x="748" y="150"/>
                  </a:lnTo>
                  <a:lnTo>
                    <a:pt x="747" y="135"/>
                  </a:lnTo>
                  <a:lnTo>
                    <a:pt x="745" y="120"/>
                  </a:lnTo>
                  <a:lnTo>
                    <a:pt x="742" y="106"/>
                  </a:lnTo>
                  <a:lnTo>
                    <a:pt x="736" y="92"/>
                  </a:lnTo>
                  <a:lnTo>
                    <a:pt x="730" y="79"/>
                  </a:lnTo>
                  <a:lnTo>
                    <a:pt x="723" y="66"/>
                  </a:lnTo>
                  <a:lnTo>
                    <a:pt x="714" y="54"/>
                  </a:lnTo>
                  <a:lnTo>
                    <a:pt x="704" y="44"/>
                  </a:lnTo>
                  <a:lnTo>
                    <a:pt x="694" y="34"/>
                  </a:lnTo>
                  <a:lnTo>
                    <a:pt x="682" y="25"/>
                  </a:lnTo>
                  <a:lnTo>
                    <a:pt x="669" y="18"/>
                  </a:lnTo>
                  <a:lnTo>
                    <a:pt x="656" y="12"/>
                  </a:lnTo>
                  <a:lnTo>
                    <a:pt x="642" y="6"/>
                  </a:lnTo>
                  <a:lnTo>
                    <a:pt x="628" y="3"/>
                  </a:lnTo>
                  <a:lnTo>
                    <a:pt x="613" y="1"/>
                  </a:lnTo>
                  <a:lnTo>
                    <a:pt x="598" y="0"/>
                  </a:lnTo>
                  <a:lnTo>
                    <a:pt x="300" y="0"/>
                  </a:lnTo>
                  <a:lnTo>
                    <a:pt x="285" y="1"/>
                  </a:lnTo>
                  <a:lnTo>
                    <a:pt x="270" y="3"/>
                  </a:lnTo>
                  <a:lnTo>
                    <a:pt x="256" y="6"/>
                  </a:lnTo>
                  <a:lnTo>
                    <a:pt x="242" y="12"/>
                  </a:lnTo>
                  <a:lnTo>
                    <a:pt x="229" y="18"/>
                  </a:lnTo>
                  <a:lnTo>
                    <a:pt x="216" y="25"/>
                  </a:lnTo>
                  <a:lnTo>
                    <a:pt x="204" y="34"/>
                  </a:lnTo>
                  <a:lnTo>
                    <a:pt x="194" y="44"/>
                  </a:lnTo>
                  <a:lnTo>
                    <a:pt x="184" y="54"/>
                  </a:lnTo>
                  <a:lnTo>
                    <a:pt x="175" y="66"/>
                  </a:lnTo>
                  <a:lnTo>
                    <a:pt x="168" y="79"/>
                  </a:lnTo>
                  <a:lnTo>
                    <a:pt x="161" y="92"/>
                  </a:lnTo>
                  <a:lnTo>
                    <a:pt x="156" y="106"/>
                  </a:lnTo>
                  <a:lnTo>
                    <a:pt x="153" y="120"/>
                  </a:lnTo>
                  <a:lnTo>
                    <a:pt x="151" y="135"/>
                  </a:lnTo>
                  <a:lnTo>
                    <a:pt x="150" y="150"/>
                  </a:lnTo>
                  <a:lnTo>
                    <a:pt x="150" y="239"/>
                  </a:lnTo>
                  <a:lnTo>
                    <a:pt x="105" y="239"/>
                  </a:lnTo>
                  <a:lnTo>
                    <a:pt x="15" y="239"/>
                  </a:lnTo>
                  <a:lnTo>
                    <a:pt x="12" y="240"/>
                  </a:lnTo>
                  <a:lnTo>
                    <a:pt x="9" y="241"/>
                  </a:lnTo>
                  <a:lnTo>
                    <a:pt x="6" y="242"/>
                  </a:lnTo>
                  <a:lnTo>
                    <a:pt x="4" y="244"/>
                  </a:lnTo>
                  <a:lnTo>
                    <a:pt x="2" y="246"/>
                  </a:lnTo>
                  <a:lnTo>
                    <a:pt x="1" y="248"/>
                  </a:lnTo>
                  <a:lnTo>
                    <a:pt x="0" y="251"/>
                  </a:lnTo>
                  <a:lnTo>
                    <a:pt x="0" y="253"/>
                  </a:lnTo>
                  <a:lnTo>
                    <a:pt x="0" y="523"/>
                  </a:lnTo>
                  <a:lnTo>
                    <a:pt x="0" y="526"/>
                  </a:lnTo>
                  <a:lnTo>
                    <a:pt x="1" y="530"/>
                  </a:lnTo>
                  <a:lnTo>
                    <a:pt x="2" y="532"/>
                  </a:lnTo>
                  <a:lnTo>
                    <a:pt x="4" y="534"/>
                  </a:lnTo>
                  <a:lnTo>
                    <a:pt x="6" y="536"/>
                  </a:lnTo>
                  <a:lnTo>
                    <a:pt x="9" y="537"/>
                  </a:lnTo>
                  <a:lnTo>
                    <a:pt x="12" y="538"/>
                  </a:lnTo>
                  <a:lnTo>
                    <a:pt x="15" y="538"/>
                  </a:lnTo>
                  <a:lnTo>
                    <a:pt x="105" y="538"/>
                  </a:lnTo>
                  <a:lnTo>
                    <a:pt x="108" y="538"/>
                  </a:lnTo>
                  <a:lnTo>
                    <a:pt x="110" y="537"/>
                  </a:lnTo>
                  <a:lnTo>
                    <a:pt x="113" y="536"/>
                  </a:lnTo>
                  <a:lnTo>
                    <a:pt x="115" y="534"/>
                  </a:lnTo>
                  <a:lnTo>
                    <a:pt x="117" y="532"/>
                  </a:lnTo>
                  <a:lnTo>
                    <a:pt x="119" y="530"/>
                  </a:lnTo>
                  <a:lnTo>
                    <a:pt x="120" y="526"/>
                  </a:lnTo>
                  <a:lnTo>
                    <a:pt x="120" y="523"/>
                  </a:lnTo>
                  <a:lnTo>
                    <a:pt x="120" y="268"/>
                  </a:lnTo>
                  <a:lnTo>
                    <a:pt x="150" y="268"/>
                  </a:lnTo>
                  <a:lnTo>
                    <a:pt x="150" y="778"/>
                  </a:lnTo>
                  <a:lnTo>
                    <a:pt x="150" y="783"/>
                  </a:lnTo>
                  <a:lnTo>
                    <a:pt x="151" y="789"/>
                  </a:lnTo>
                  <a:lnTo>
                    <a:pt x="153" y="794"/>
                  </a:lnTo>
                  <a:lnTo>
                    <a:pt x="155" y="799"/>
                  </a:lnTo>
                  <a:lnTo>
                    <a:pt x="160" y="810"/>
                  </a:lnTo>
                  <a:lnTo>
                    <a:pt x="169" y="819"/>
                  </a:lnTo>
                  <a:lnTo>
                    <a:pt x="178" y="826"/>
                  </a:lnTo>
                  <a:lnTo>
                    <a:pt x="187" y="833"/>
                  </a:lnTo>
                  <a:lnTo>
                    <a:pt x="193" y="835"/>
                  </a:lnTo>
                  <a:lnTo>
                    <a:pt x="198" y="836"/>
                  </a:lnTo>
                  <a:lnTo>
                    <a:pt x="204" y="837"/>
                  </a:lnTo>
                  <a:lnTo>
                    <a:pt x="210" y="838"/>
                  </a:lnTo>
                  <a:lnTo>
                    <a:pt x="210" y="883"/>
                  </a:lnTo>
                  <a:lnTo>
                    <a:pt x="210" y="886"/>
                  </a:lnTo>
                  <a:lnTo>
                    <a:pt x="211" y="888"/>
                  </a:lnTo>
                  <a:lnTo>
                    <a:pt x="212" y="891"/>
                  </a:lnTo>
                  <a:lnTo>
                    <a:pt x="214" y="894"/>
                  </a:lnTo>
                  <a:lnTo>
                    <a:pt x="216" y="895"/>
                  </a:lnTo>
                  <a:lnTo>
                    <a:pt x="218" y="897"/>
                  </a:lnTo>
                  <a:lnTo>
                    <a:pt x="221" y="897"/>
                  </a:lnTo>
                  <a:lnTo>
                    <a:pt x="225" y="898"/>
                  </a:lnTo>
                  <a:lnTo>
                    <a:pt x="315" y="898"/>
                  </a:lnTo>
                  <a:lnTo>
                    <a:pt x="317" y="897"/>
                  </a:lnTo>
                  <a:lnTo>
                    <a:pt x="320" y="897"/>
                  </a:lnTo>
                  <a:lnTo>
                    <a:pt x="322" y="895"/>
                  </a:lnTo>
                  <a:lnTo>
                    <a:pt x="324" y="894"/>
                  </a:lnTo>
                  <a:lnTo>
                    <a:pt x="326" y="891"/>
                  </a:lnTo>
                  <a:lnTo>
                    <a:pt x="327" y="888"/>
                  </a:lnTo>
                  <a:lnTo>
                    <a:pt x="329" y="886"/>
                  </a:lnTo>
                  <a:lnTo>
                    <a:pt x="330" y="883"/>
                  </a:lnTo>
                  <a:lnTo>
                    <a:pt x="330" y="838"/>
                  </a:lnTo>
                  <a:lnTo>
                    <a:pt x="568" y="838"/>
                  </a:lnTo>
                  <a:lnTo>
                    <a:pt x="568" y="883"/>
                  </a:lnTo>
                  <a:lnTo>
                    <a:pt x="569" y="886"/>
                  </a:lnTo>
                  <a:lnTo>
                    <a:pt x="569" y="888"/>
                  </a:lnTo>
                  <a:lnTo>
                    <a:pt x="572" y="891"/>
                  </a:lnTo>
                  <a:lnTo>
                    <a:pt x="573" y="894"/>
                  </a:lnTo>
                  <a:lnTo>
                    <a:pt x="575" y="895"/>
                  </a:lnTo>
                  <a:lnTo>
                    <a:pt x="578" y="897"/>
                  </a:lnTo>
                  <a:lnTo>
                    <a:pt x="580" y="897"/>
                  </a:lnTo>
                  <a:lnTo>
                    <a:pt x="583" y="898"/>
                  </a:lnTo>
                  <a:lnTo>
                    <a:pt x="673" y="898"/>
                  </a:lnTo>
                  <a:lnTo>
                    <a:pt x="676" y="897"/>
                  </a:lnTo>
                  <a:lnTo>
                    <a:pt x="680" y="897"/>
                  </a:lnTo>
                  <a:lnTo>
                    <a:pt x="682" y="895"/>
                  </a:lnTo>
                  <a:lnTo>
                    <a:pt x="684" y="894"/>
                  </a:lnTo>
                  <a:lnTo>
                    <a:pt x="686" y="891"/>
                  </a:lnTo>
                  <a:lnTo>
                    <a:pt x="687" y="888"/>
                  </a:lnTo>
                  <a:lnTo>
                    <a:pt x="688" y="886"/>
                  </a:lnTo>
                  <a:lnTo>
                    <a:pt x="688" y="883"/>
                  </a:lnTo>
                  <a:lnTo>
                    <a:pt x="688" y="838"/>
                  </a:lnTo>
                  <a:lnTo>
                    <a:pt x="694" y="837"/>
                  </a:lnTo>
                  <a:lnTo>
                    <a:pt x="699" y="836"/>
                  </a:lnTo>
                  <a:lnTo>
                    <a:pt x="704" y="835"/>
                  </a:lnTo>
                  <a:lnTo>
                    <a:pt x="710" y="833"/>
                  </a:lnTo>
                  <a:lnTo>
                    <a:pt x="720" y="826"/>
                  </a:lnTo>
                  <a:lnTo>
                    <a:pt x="729" y="819"/>
                  </a:lnTo>
                  <a:lnTo>
                    <a:pt x="736" y="810"/>
                  </a:lnTo>
                  <a:lnTo>
                    <a:pt x="743" y="799"/>
                  </a:lnTo>
                  <a:lnTo>
                    <a:pt x="745" y="794"/>
                  </a:lnTo>
                  <a:lnTo>
                    <a:pt x="747" y="789"/>
                  </a:lnTo>
                  <a:lnTo>
                    <a:pt x="748" y="783"/>
                  </a:lnTo>
                  <a:lnTo>
                    <a:pt x="748" y="778"/>
                  </a:lnTo>
                  <a:lnTo>
                    <a:pt x="748" y="268"/>
                  </a:lnTo>
                  <a:lnTo>
                    <a:pt x="778" y="268"/>
                  </a:lnTo>
                  <a:lnTo>
                    <a:pt x="778" y="523"/>
                  </a:lnTo>
                  <a:lnTo>
                    <a:pt x="778" y="526"/>
                  </a:lnTo>
                  <a:lnTo>
                    <a:pt x="779" y="530"/>
                  </a:lnTo>
                  <a:lnTo>
                    <a:pt x="780" y="532"/>
                  </a:lnTo>
                  <a:lnTo>
                    <a:pt x="782" y="534"/>
                  </a:lnTo>
                  <a:lnTo>
                    <a:pt x="785" y="536"/>
                  </a:lnTo>
                  <a:lnTo>
                    <a:pt x="788" y="537"/>
                  </a:lnTo>
                  <a:lnTo>
                    <a:pt x="790" y="538"/>
                  </a:lnTo>
                  <a:lnTo>
                    <a:pt x="793" y="538"/>
                  </a:lnTo>
                  <a:lnTo>
                    <a:pt x="883" y="538"/>
                  </a:lnTo>
                  <a:lnTo>
                    <a:pt x="886" y="538"/>
                  </a:lnTo>
                  <a:lnTo>
                    <a:pt x="888" y="537"/>
                  </a:lnTo>
                  <a:lnTo>
                    <a:pt x="892" y="536"/>
                  </a:lnTo>
                  <a:lnTo>
                    <a:pt x="894" y="534"/>
                  </a:lnTo>
                  <a:lnTo>
                    <a:pt x="895" y="532"/>
                  </a:lnTo>
                  <a:lnTo>
                    <a:pt x="897" y="530"/>
                  </a:lnTo>
                  <a:lnTo>
                    <a:pt x="898" y="526"/>
                  </a:lnTo>
                  <a:lnTo>
                    <a:pt x="898" y="523"/>
                  </a:lnTo>
                  <a:lnTo>
                    <a:pt x="898" y="253"/>
                  </a:lnTo>
                  <a:lnTo>
                    <a:pt x="898" y="251"/>
                  </a:lnTo>
                  <a:lnTo>
                    <a:pt x="897" y="248"/>
                  </a:lnTo>
                  <a:lnTo>
                    <a:pt x="895" y="246"/>
                  </a:lnTo>
                  <a:lnTo>
                    <a:pt x="894" y="244"/>
                  </a:lnTo>
                  <a:lnTo>
                    <a:pt x="892" y="242"/>
                  </a:lnTo>
                  <a:lnTo>
                    <a:pt x="888" y="241"/>
                  </a:lnTo>
                  <a:lnTo>
                    <a:pt x="886" y="240"/>
                  </a:lnTo>
                  <a:lnTo>
                    <a:pt x="883" y="2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3497820" y="3709293"/>
            <a:ext cx="560694" cy="210804"/>
            <a:chOff x="5467350" y="3421063"/>
            <a:chExt cx="285750" cy="200025"/>
          </a:xfrm>
          <a:solidFill>
            <a:schemeClr val="bg1"/>
          </a:solidFill>
        </p:grpSpPr>
        <p:sp>
          <p:nvSpPr>
            <p:cNvPr id="52" name="Freeform 102"/>
            <p:cNvSpPr>
              <a:spLocks/>
            </p:cNvSpPr>
            <p:nvPr/>
          </p:nvSpPr>
          <p:spPr bwMode="auto">
            <a:xfrm>
              <a:off x="5695950" y="3459163"/>
              <a:ext cx="57150" cy="61913"/>
            </a:xfrm>
            <a:custGeom>
              <a:avLst/>
              <a:gdLst>
                <a:gd name="T0" fmla="*/ 165 w 180"/>
                <a:gd name="T1" fmla="*/ 90 h 195"/>
                <a:gd name="T2" fmla="*/ 84 w 180"/>
                <a:gd name="T3" fmla="*/ 90 h 195"/>
                <a:gd name="T4" fmla="*/ 28 w 180"/>
                <a:gd name="T5" fmla="*/ 8 h 195"/>
                <a:gd name="T6" fmla="*/ 26 w 180"/>
                <a:gd name="T7" fmla="*/ 6 h 195"/>
                <a:gd name="T8" fmla="*/ 24 w 180"/>
                <a:gd name="T9" fmla="*/ 4 h 195"/>
                <a:gd name="T10" fmla="*/ 22 w 180"/>
                <a:gd name="T11" fmla="*/ 2 h 195"/>
                <a:gd name="T12" fmla="*/ 18 w 180"/>
                <a:gd name="T13" fmla="*/ 2 h 195"/>
                <a:gd name="T14" fmla="*/ 15 w 180"/>
                <a:gd name="T15" fmla="*/ 0 h 195"/>
                <a:gd name="T16" fmla="*/ 13 w 180"/>
                <a:gd name="T17" fmla="*/ 2 h 195"/>
                <a:gd name="T18" fmla="*/ 10 w 180"/>
                <a:gd name="T19" fmla="*/ 2 h 195"/>
                <a:gd name="T20" fmla="*/ 7 w 180"/>
                <a:gd name="T21" fmla="*/ 4 h 195"/>
                <a:gd name="T22" fmla="*/ 4 w 180"/>
                <a:gd name="T23" fmla="*/ 6 h 195"/>
                <a:gd name="T24" fmla="*/ 2 w 180"/>
                <a:gd name="T25" fmla="*/ 8 h 195"/>
                <a:gd name="T26" fmla="*/ 1 w 180"/>
                <a:gd name="T27" fmla="*/ 10 h 195"/>
                <a:gd name="T28" fmla="*/ 0 w 180"/>
                <a:gd name="T29" fmla="*/ 13 h 195"/>
                <a:gd name="T30" fmla="*/ 0 w 180"/>
                <a:gd name="T31" fmla="*/ 15 h 195"/>
                <a:gd name="T32" fmla="*/ 0 w 180"/>
                <a:gd name="T33" fmla="*/ 19 h 195"/>
                <a:gd name="T34" fmla="*/ 1 w 180"/>
                <a:gd name="T35" fmla="*/ 22 h 195"/>
                <a:gd name="T36" fmla="*/ 3 w 180"/>
                <a:gd name="T37" fmla="*/ 24 h 195"/>
                <a:gd name="T38" fmla="*/ 57 w 180"/>
                <a:gd name="T39" fmla="*/ 105 h 195"/>
                <a:gd name="T40" fmla="*/ 3 w 180"/>
                <a:gd name="T41" fmla="*/ 171 h 195"/>
                <a:gd name="T42" fmla="*/ 2 w 180"/>
                <a:gd name="T43" fmla="*/ 174 h 195"/>
                <a:gd name="T44" fmla="*/ 1 w 180"/>
                <a:gd name="T45" fmla="*/ 176 h 195"/>
                <a:gd name="T46" fmla="*/ 0 w 180"/>
                <a:gd name="T47" fmla="*/ 179 h 195"/>
                <a:gd name="T48" fmla="*/ 0 w 180"/>
                <a:gd name="T49" fmla="*/ 182 h 195"/>
                <a:gd name="T50" fmla="*/ 1 w 180"/>
                <a:gd name="T51" fmla="*/ 185 h 195"/>
                <a:gd name="T52" fmla="*/ 2 w 180"/>
                <a:gd name="T53" fmla="*/ 188 h 195"/>
                <a:gd name="T54" fmla="*/ 3 w 180"/>
                <a:gd name="T55" fmla="*/ 190 h 195"/>
                <a:gd name="T56" fmla="*/ 5 w 180"/>
                <a:gd name="T57" fmla="*/ 192 h 195"/>
                <a:gd name="T58" fmla="*/ 8 w 180"/>
                <a:gd name="T59" fmla="*/ 194 h 195"/>
                <a:gd name="T60" fmla="*/ 11 w 180"/>
                <a:gd name="T61" fmla="*/ 194 h 195"/>
                <a:gd name="T62" fmla="*/ 13 w 180"/>
                <a:gd name="T63" fmla="*/ 195 h 195"/>
                <a:gd name="T64" fmla="*/ 15 w 180"/>
                <a:gd name="T65" fmla="*/ 195 h 195"/>
                <a:gd name="T66" fmla="*/ 18 w 180"/>
                <a:gd name="T67" fmla="*/ 194 h 195"/>
                <a:gd name="T68" fmla="*/ 22 w 180"/>
                <a:gd name="T69" fmla="*/ 194 h 195"/>
                <a:gd name="T70" fmla="*/ 25 w 180"/>
                <a:gd name="T71" fmla="*/ 192 h 195"/>
                <a:gd name="T72" fmla="*/ 27 w 180"/>
                <a:gd name="T73" fmla="*/ 191 h 195"/>
                <a:gd name="T74" fmla="*/ 83 w 180"/>
                <a:gd name="T75" fmla="*/ 120 h 195"/>
                <a:gd name="T76" fmla="*/ 165 w 180"/>
                <a:gd name="T77" fmla="*/ 120 h 195"/>
                <a:gd name="T78" fmla="*/ 168 w 180"/>
                <a:gd name="T79" fmla="*/ 120 h 195"/>
                <a:gd name="T80" fmla="*/ 170 w 180"/>
                <a:gd name="T81" fmla="*/ 119 h 195"/>
                <a:gd name="T82" fmla="*/ 174 w 180"/>
                <a:gd name="T83" fmla="*/ 118 h 195"/>
                <a:gd name="T84" fmla="*/ 176 w 180"/>
                <a:gd name="T85" fmla="*/ 116 h 195"/>
                <a:gd name="T86" fmla="*/ 178 w 180"/>
                <a:gd name="T87" fmla="*/ 114 h 195"/>
                <a:gd name="T88" fmla="*/ 179 w 180"/>
                <a:gd name="T89" fmla="*/ 112 h 195"/>
                <a:gd name="T90" fmla="*/ 180 w 180"/>
                <a:gd name="T91" fmla="*/ 109 h 195"/>
                <a:gd name="T92" fmla="*/ 180 w 180"/>
                <a:gd name="T93" fmla="*/ 105 h 195"/>
                <a:gd name="T94" fmla="*/ 180 w 180"/>
                <a:gd name="T95" fmla="*/ 102 h 195"/>
                <a:gd name="T96" fmla="*/ 179 w 180"/>
                <a:gd name="T97" fmla="*/ 100 h 195"/>
                <a:gd name="T98" fmla="*/ 178 w 180"/>
                <a:gd name="T99" fmla="*/ 97 h 195"/>
                <a:gd name="T100" fmla="*/ 176 w 180"/>
                <a:gd name="T101" fmla="*/ 95 h 195"/>
                <a:gd name="T102" fmla="*/ 174 w 180"/>
                <a:gd name="T103" fmla="*/ 93 h 195"/>
                <a:gd name="T104" fmla="*/ 170 w 180"/>
                <a:gd name="T105" fmla="*/ 91 h 195"/>
                <a:gd name="T106" fmla="*/ 168 w 180"/>
                <a:gd name="T107" fmla="*/ 90 h 195"/>
                <a:gd name="T108" fmla="*/ 165 w 180"/>
                <a:gd name="T109" fmla="*/ 9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0" h="195">
                  <a:moveTo>
                    <a:pt x="165" y="90"/>
                  </a:moveTo>
                  <a:lnTo>
                    <a:pt x="84" y="90"/>
                  </a:lnTo>
                  <a:lnTo>
                    <a:pt x="28" y="8"/>
                  </a:lnTo>
                  <a:lnTo>
                    <a:pt x="26" y="6"/>
                  </a:lnTo>
                  <a:lnTo>
                    <a:pt x="24" y="4"/>
                  </a:lnTo>
                  <a:lnTo>
                    <a:pt x="22" y="2"/>
                  </a:lnTo>
                  <a:lnTo>
                    <a:pt x="18" y="2"/>
                  </a:lnTo>
                  <a:lnTo>
                    <a:pt x="15" y="0"/>
                  </a:lnTo>
                  <a:lnTo>
                    <a:pt x="13" y="2"/>
                  </a:lnTo>
                  <a:lnTo>
                    <a:pt x="10" y="2"/>
                  </a:lnTo>
                  <a:lnTo>
                    <a:pt x="7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57" y="105"/>
                  </a:lnTo>
                  <a:lnTo>
                    <a:pt x="3" y="171"/>
                  </a:lnTo>
                  <a:lnTo>
                    <a:pt x="2" y="174"/>
                  </a:lnTo>
                  <a:lnTo>
                    <a:pt x="1" y="176"/>
                  </a:lnTo>
                  <a:lnTo>
                    <a:pt x="0" y="179"/>
                  </a:lnTo>
                  <a:lnTo>
                    <a:pt x="0" y="182"/>
                  </a:lnTo>
                  <a:lnTo>
                    <a:pt x="1" y="185"/>
                  </a:lnTo>
                  <a:lnTo>
                    <a:pt x="2" y="188"/>
                  </a:lnTo>
                  <a:lnTo>
                    <a:pt x="3" y="190"/>
                  </a:lnTo>
                  <a:lnTo>
                    <a:pt x="5" y="192"/>
                  </a:lnTo>
                  <a:lnTo>
                    <a:pt x="8" y="194"/>
                  </a:lnTo>
                  <a:lnTo>
                    <a:pt x="11" y="194"/>
                  </a:lnTo>
                  <a:lnTo>
                    <a:pt x="13" y="195"/>
                  </a:lnTo>
                  <a:lnTo>
                    <a:pt x="15" y="195"/>
                  </a:lnTo>
                  <a:lnTo>
                    <a:pt x="18" y="194"/>
                  </a:lnTo>
                  <a:lnTo>
                    <a:pt x="22" y="194"/>
                  </a:lnTo>
                  <a:lnTo>
                    <a:pt x="25" y="192"/>
                  </a:lnTo>
                  <a:lnTo>
                    <a:pt x="27" y="191"/>
                  </a:lnTo>
                  <a:lnTo>
                    <a:pt x="83" y="120"/>
                  </a:lnTo>
                  <a:lnTo>
                    <a:pt x="165" y="120"/>
                  </a:lnTo>
                  <a:lnTo>
                    <a:pt x="168" y="120"/>
                  </a:lnTo>
                  <a:lnTo>
                    <a:pt x="170" y="119"/>
                  </a:lnTo>
                  <a:lnTo>
                    <a:pt x="174" y="118"/>
                  </a:lnTo>
                  <a:lnTo>
                    <a:pt x="176" y="116"/>
                  </a:lnTo>
                  <a:lnTo>
                    <a:pt x="178" y="114"/>
                  </a:lnTo>
                  <a:lnTo>
                    <a:pt x="179" y="112"/>
                  </a:lnTo>
                  <a:lnTo>
                    <a:pt x="180" y="109"/>
                  </a:lnTo>
                  <a:lnTo>
                    <a:pt x="180" y="105"/>
                  </a:lnTo>
                  <a:lnTo>
                    <a:pt x="180" y="102"/>
                  </a:lnTo>
                  <a:lnTo>
                    <a:pt x="179" y="100"/>
                  </a:lnTo>
                  <a:lnTo>
                    <a:pt x="178" y="97"/>
                  </a:lnTo>
                  <a:lnTo>
                    <a:pt x="176" y="95"/>
                  </a:lnTo>
                  <a:lnTo>
                    <a:pt x="174" y="93"/>
                  </a:lnTo>
                  <a:lnTo>
                    <a:pt x="170" y="91"/>
                  </a:lnTo>
                  <a:lnTo>
                    <a:pt x="168" y="90"/>
                  </a:lnTo>
                  <a:lnTo>
                    <a:pt x="165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03"/>
            <p:cNvSpPr>
              <a:spLocks/>
            </p:cNvSpPr>
            <p:nvPr/>
          </p:nvSpPr>
          <p:spPr bwMode="auto">
            <a:xfrm>
              <a:off x="5586413" y="3516313"/>
              <a:ext cx="19050" cy="9525"/>
            </a:xfrm>
            <a:custGeom>
              <a:avLst/>
              <a:gdLst>
                <a:gd name="T0" fmla="*/ 15 w 60"/>
                <a:gd name="T1" fmla="*/ 0 h 30"/>
                <a:gd name="T2" fmla="*/ 12 w 60"/>
                <a:gd name="T3" fmla="*/ 0 h 30"/>
                <a:gd name="T4" fmla="*/ 9 w 60"/>
                <a:gd name="T5" fmla="*/ 1 h 30"/>
                <a:gd name="T6" fmla="*/ 7 w 60"/>
                <a:gd name="T7" fmla="*/ 2 h 30"/>
                <a:gd name="T8" fmla="*/ 5 w 60"/>
                <a:gd name="T9" fmla="*/ 5 h 30"/>
                <a:gd name="T10" fmla="*/ 3 w 60"/>
                <a:gd name="T11" fmla="*/ 7 h 30"/>
                <a:gd name="T12" fmla="*/ 2 w 60"/>
                <a:gd name="T13" fmla="*/ 10 h 30"/>
                <a:gd name="T14" fmla="*/ 0 w 60"/>
                <a:gd name="T15" fmla="*/ 12 h 30"/>
                <a:gd name="T16" fmla="*/ 0 w 60"/>
                <a:gd name="T17" fmla="*/ 15 h 30"/>
                <a:gd name="T18" fmla="*/ 0 w 60"/>
                <a:gd name="T19" fmla="*/ 18 h 30"/>
                <a:gd name="T20" fmla="*/ 2 w 60"/>
                <a:gd name="T21" fmla="*/ 21 h 30"/>
                <a:gd name="T22" fmla="*/ 3 w 60"/>
                <a:gd name="T23" fmla="*/ 24 h 30"/>
                <a:gd name="T24" fmla="*/ 5 w 60"/>
                <a:gd name="T25" fmla="*/ 26 h 30"/>
                <a:gd name="T26" fmla="*/ 7 w 60"/>
                <a:gd name="T27" fmla="*/ 27 h 30"/>
                <a:gd name="T28" fmla="*/ 9 w 60"/>
                <a:gd name="T29" fmla="*/ 29 h 30"/>
                <a:gd name="T30" fmla="*/ 12 w 60"/>
                <a:gd name="T31" fmla="*/ 29 h 30"/>
                <a:gd name="T32" fmla="*/ 15 w 60"/>
                <a:gd name="T33" fmla="*/ 30 h 30"/>
                <a:gd name="T34" fmla="*/ 45 w 60"/>
                <a:gd name="T35" fmla="*/ 30 h 30"/>
                <a:gd name="T36" fmla="*/ 48 w 60"/>
                <a:gd name="T37" fmla="*/ 29 h 30"/>
                <a:gd name="T38" fmla="*/ 51 w 60"/>
                <a:gd name="T39" fmla="*/ 29 h 30"/>
                <a:gd name="T40" fmla="*/ 53 w 60"/>
                <a:gd name="T41" fmla="*/ 27 h 30"/>
                <a:gd name="T42" fmla="*/ 55 w 60"/>
                <a:gd name="T43" fmla="*/ 26 h 30"/>
                <a:gd name="T44" fmla="*/ 57 w 60"/>
                <a:gd name="T45" fmla="*/ 24 h 30"/>
                <a:gd name="T46" fmla="*/ 58 w 60"/>
                <a:gd name="T47" fmla="*/ 21 h 30"/>
                <a:gd name="T48" fmla="*/ 59 w 60"/>
                <a:gd name="T49" fmla="*/ 18 h 30"/>
                <a:gd name="T50" fmla="*/ 60 w 60"/>
                <a:gd name="T51" fmla="*/ 15 h 30"/>
                <a:gd name="T52" fmla="*/ 59 w 60"/>
                <a:gd name="T53" fmla="*/ 12 h 30"/>
                <a:gd name="T54" fmla="*/ 58 w 60"/>
                <a:gd name="T55" fmla="*/ 10 h 30"/>
                <a:gd name="T56" fmla="*/ 57 w 60"/>
                <a:gd name="T57" fmla="*/ 7 h 30"/>
                <a:gd name="T58" fmla="*/ 55 w 60"/>
                <a:gd name="T59" fmla="*/ 5 h 30"/>
                <a:gd name="T60" fmla="*/ 53 w 60"/>
                <a:gd name="T61" fmla="*/ 2 h 30"/>
                <a:gd name="T62" fmla="*/ 51 w 60"/>
                <a:gd name="T63" fmla="*/ 1 h 30"/>
                <a:gd name="T64" fmla="*/ 48 w 60"/>
                <a:gd name="T65" fmla="*/ 0 h 30"/>
                <a:gd name="T66" fmla="*/ 45 w 60"/>
                <a:gd name="T67" fmla="*/ 0 h 30"/>
                <a:gd name="T68" fmla="*/ 1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15" y="0"/>
                  </a:move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5"/>
                  </a:lnTo>
                  <a:lnTo>
                    <a:pt x="3" y="7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3" y="27"/>
                  </a:lnTo>
                  <a:lnTo>
                    <a:pt x="55" y="26"/>
                  </a:lnTo>
                  <a:lnTo>
                    <a:pt x="57" y="24"/>
                  </a:lnTo>
                  <a:lnTo>
                    <a:pt x="58" y="21"/>
                  </a:lnTo>
                  <a:lnTo>
                    <a:pt x="59" y="18"/>
                  </a:lnTo>
                  <a:lnTo>
                    <a:pt x="60" y="15"/>
                  </a:lnTo>
                  <a:lnTo>
                    <a:pt x="59" y="12"/>
                  </a:lnTo>
                  <a:lnTo>
                    <a:pt x="58" y="10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04"/>
            <p:cNvSpPr>
              <a:spLocks noEditPoints="1"/>
            </p:cNvSpPr>
            <p:nvPr/>
          </p:nvSpPr>
          <p:spPr bwMode="auto">
            <a:xfrm>
              <a:off x="5467350" y="3421063"/>
              <a:ext cx="233363" cy="200025"/>
            </a:xfrm>
            <a:custGeom>
              <a:avLst/>
              <a:gdLst>
                <a:gd name="T0" fmla="*/ 419 w 733"/>
                <a:gd name="T1" fmla="*/ 179 h 628"/>
                <a:gd name="T2" fmla="*/ 129 w 733"/>
                <a:gd name="T3" fmla="*/ 598 h 628"/>
                <a:gd name="T4" fmla="*/ 729 w 733"/>
                <a:gd name="T5" fmla="*/ 55 h 628"/>
                <a:gd name="T6" fmla="*/ 733 w 733"/>
                <a:gd name="T7" fmla="*/ 41 h 628"/>
                <a:gd name="T8" fmla="*/ 725 w 733"/>
                <a:gd name="T9" fmla="*/ 31 h 628"/>
                <a:gd name="T10" fmla="*/ 388 w 733"/>
                <a:gd name="T11" fmla="*/ 11 h 628"/>
                <a:gd name="T12" fmla="*/ 380 w 733"/>
                <a:gd name="T13" fmla="*/ 1 h 628"/>
                <a:gd name="T14" fmla="*/ 366 w 733"/>
                <a:gd name="T15" fmla="*/ 3 h 628"/>
                <a:gd name="T16" fmla="*/ 359 w 733"/>
                <a:gd name="T17" fmla="*/ 15 h 628"/>
                <a:gd name="T18" fmla="*/ 6 w 733"/>
                <a:gd name="T19" fmla="*/ 33 h 628"/>
                <a:gd name="T20" fmla="*/ 0 w 733"/>
                <a:gd name="T21" fmla="*/ 45 h 628"/>
                <a:gd name="T22" fmla="*/ 6 w 733"/>
                <a:gd name="T23" fmla="*/ 57 h 628"/>
                <a:gd name="T24" fmla="*/ 359 w 733"/>
                <a:gd name="T25" fmla="*/ 89 h 628"/>
                <a:gd name="T26" fmla="*/ 304 w 733"/>
                <a:gd name="T27" fmla="*/ 94 h 628"/>
                <a:gd name="T28" fmla="*/ 300 w 733"/>
                <a:gd name="T29" fmla="*/ 179 h 628"/>
                <a:gd name="T30" fmla="*/ 233 w 733"/>
                <a:gd name="T31" fmla="*/ 188 h 628"/>
                <a:gd name="T32" fmla="*/ 172 w 733"/>
                <a:gd name="T33" fmla="*/ 212 h 628"/>
                <a:gd name="T34" fmla="*/ 93 w 733"/>
                <a:gd name="T35" fmla="*/ 270 h 628"/>
                <a:gd name="T36" fmla="*/ 43 w 733"/>
                <a:gd name="T37" fmla="*/ 345 h 628"/>
                <a:gd name="T38" fmla="*/ 30 w 733"/>
                <a:gd name="T39" fmla="*/ 395 h 628"/>
                <a:gd name="T40" fmla="*/ 35 w 733"/>
                <a:gd name="T41" fmla="*/ 461 h 628"/>
                <a:gd name="T42" fmla="*/ 56 w 733"/>
                <a:gd name="T43" fmla="*/ 522 h 628"/>
                <a:gd name="T44" fmla="*/ 92 w 733"/>
                <a:gd name="T45" fmla="*/ 562 h 628"/>
                <a:gd name="T46" fmla="*/ 30 w 733"/>
                <a:gd name="T47" fmla="*/ 596 h 628"/>
                <a:gd name="T48" fmla="*/ 21 w 733"/>
                <a:gd name="T49" fmla="*/ 585 h 628"/>
                <a:gd name="T50" fmla="*/ 6 w 733"/>
                <a:gd name="T51" fmla="*/ 586 h 628"/>
                <a:gd name="T52" fmla="*/ 0 w 733"/>
                <a:gd name="T53" fmla="*/ 598 h 628"/>
                <a:gd name="T54" fmla="*/ 13 w 733"/>
                <a:gd name="T55" fmla="*/ 624 h 628"/>
                <a:gd name="T56" fmla="*/ 482 w 733"/>
                <a:gd name="T57" fmla="*/ 628 h 628"/>
                <a:gd name="T58" fmla="*/ 492 w 733"/>
                <a:gd name="T59" fmla="*/ 619 h 628"/>
                <a:gd name="T60" fmla="*/ 491 w 733"/>
                <a:gd name="T61" fmla="*/ 605 h 628"/>
                <a:gd name="T62" fmla="*/ 479 w 733"/>
                <a:gd name="T63" fmla="*/ 598 h 628"/>
                <a:gd name="T64" fmla="*/ 410 w 733"/>
                <a:gd name="T65" fmla="*/ 553 h 628"/>
                <a:gd name="T66" fmla="*/ 447 w 733"/>
                <a:gd name="T67" fmla="*/ 520 h 628"/>
                <a:gd name="T68" fmla="*/ 497 w 733"/>
                <a:gd name="T69" fmla="*/ 430 h 628"/>
                <a:gd name="T70" fmla="*/ 522 w 733"/>
                <a:gd name="T71" fmla="*/ 326 h 628"/>
                <a:gd name="T72" fmla="*/ 686 w 733"/>
                <a:gd name="T73" fmla="*/ 277 h 628"/>
                <a:gd name="T74" fmla="*/ 687 w 733"/>
                <a:gd name="T75" fmla="*/ 263 h 628"/>
                <a:gd name="T76" fmla="*/ 675 w 733"/>
                <a:gd name="T77" fmla="*/ 254 h 628"/>
                <a:gd name="T78" fmla="*/ 498 w 733"/>
                <a:gd name="T79" fmla="*/ 305 h 628"/>
                <a:gd name="T80" fmla="*/ 486 w 733"/>
                <a:gd name="T81" fmla="*/ 359 h 628"/>
                <a:gd name="T82" fmla="*/ 455 w 733"/>
                <a:gd name="T83" fmla="*/ 452 h 628"/>
                <a:gd name="T84" fmla="*/ 413 w 733"/>
                <a:gd name="T85" fmla="*/ 512 h 628"/>
                <a:gd name="T86" fmla="*/ 371 w 733"/>
                <a:gd name="T87" fmla="*/ 538 h 628"/>
                <a:gd name="T88" fmla="*/ 95 w 733"/>
                <a:gd name="T89" fmla="*/ 526 h 628"/>
                <a:gd name="T90" fmla="*/ 73 w 733"/>
                <a:gd name="T91" fmla="*/ 486 h 628"/>
                <a:gd name="T92" fmla="*/ 61 w 733"/>
                <a:gd name="T93" fmla="*/ 428 h 628"/>
                <a:gd name="T94" fmla="*/ 63 w 733"/>
                <a:gd name="T95" fmla="*/ 380 h 628"/>
                <a:gd name="T96" fmla="*/ 103 w 733"/>
                <a:gd name="T97" fmla="*/ 305 h 628"/>
                <a:gd name="T98" fmla="*/ 187 w 733"/>
                <a:gd name="T99" fmla="*/ 237 h 628"/>
                <a:gd name="T100" fmla="*/ 276 w 733"/>
                <a:gd name="T101" fmla="*/ 210 h 628"/>
                <a:gd name="T102" fmla="*/ 673 w 733"/>
                <a:gd name="T103" fmla="*/ 209 h 628"/>
                <a:gd name="T104" fmla="*/ 686 w 733"/>
                <a:gd name="T105" fmla="*/ 203 h 628"/>
                <a:gd name="T106" fmla="*/ 687 w 733"/>
                <a:gd name="T107" fmla="*/ 189 h 628"/>
                <a:gd name="T108" fmla="*/ 676 w 733"/>
                <a:gd name="T109" fmla="*/ 179 h 628"/>
                <a:gd name="T110" fmla="*/ 447 w 733"/>
                <a:gd name="T111" fmla="*/ 99 h 628"/>
                <a:gd name="T112" fmla="*/ 437 w 733"/>
                <a:gd name="T113" fmla="*/ 89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33" h="628">
                  <a:moveTo>
                    <a:pt x="419" y="179"/>
                  </a:moveTo>
                  <a:lnTo>
                    <a:pt x="329" y="179"/>
                  </a:lnTo>
                  <a:lnTo>
                    <a:pt x="329" y="119"/>
                  </a:lnTo>
                  <a:lnTo>
                    <a:pt x="419" y="119"/>
                  </a:lnTo>
                  <a:lnTo>
                    <a:pt x="419" y="179"/>
                  </a:lnTo>
                  <a:close/>
                  <a:moveTo>
                    <a:pt x="129" y="598"/>
                  </a:moveTo>
                  <a:lnTo>
                    <a:pt x="144" y="568"/>
                  </a:lnTo>
                  <a:lnTo>
                    <a:pt x="350" y="568"/>
                  </a:lnTo>
                  <a:lnTo>
                    <a:pt x="365" y="598"/>
                  </a:lnTo>
                  <a:lnTo>
                    <a:pt x="129" y="598"/>
                  </a:lnTo>
                  <a:close/>
                  <a:moveTo>
                    <a:pt x="718" y="60"/>
                  </a:moveTo>
                  <a:lnTo>
                    <a:pt x="721" y="60"/>
                  </a:lnTo>
                  <a:lnTo>
                    <a:pt x="725" y="58"/>
                  </a:lnTo>
                  <a:lnTo>
                    <a:pt x="727" y="57"/>
                  </a:lnTo>
                  <a:lnTo>
                    <a:pt x="729" y="55"/>
                  </a:lnTo>
                  <a:lnTo>
                    <a:pt x="731" y="53"/>
                  </a:lnTo>
                  <a:lnTo>
                    <a:pt x="732" y="51"/>
                  </a:lnTo>
                  <a:lnTo>
                    <a:pt x="733" y="48"/>
                  </a:lnTo>
                  <a:lnTo>
                    <a:pt x="733" y="45"/>
                  </a:lnTo>
                  <a:lnTo>
                    <a:pt x="733" y="41"/>
                  </a:lnTo>
                  <a:lnTo>
                    <a:pt x="732" y="39"/>
                  </a:lnTo>
                  <a:lnTo>
                    <a:pt x="731" y="37"/>
                  </a:lnTo>
                  <a:lnTo>
                    <a:pt x="729" y="34"/>
                  </a:lnTo>
                  <a:lnTo>
                    <a:pt x="727" y="33"/>
                  </a:lnTo>
                  <a:lnTo>
                    <a:pt x="725" y="31"/>
                  </a:lnTo>
                  <a:lnTo>
                    <a:pt x="721" y="30"/>
                  </a:lnTo>
                  <a:lnTo>
                    <a:pt x="718" y="30"/>
                  </a:lnTo>
                  <a:lnTo>
                    <a:pt x="389" y="30"/>
                  </a:lnTo>
                  <a:lnTo>
                    <a:pt x="389" y="15"/>
                  </a:lnTo>
                  <a:lnTo>
                    <a:pt x="388" y="11"/>
                  </a:lnTo>
                  <a:lnTo>
                    <a:pt x="388" y="9"/>
                  </a:lnTo>
                  <a:lnTo>
                    <a:pt x="386" y="7"/>
                  </a:lnTo>
                  <a:lnTo>
                    <a:pt x="385" y="4"/>
                  </a:lnTo>
                  <a:lnTo>
                    <a:pt x="382" y="3"/>
                  </a:lnTo>
                  <a:lnTo>
                    <a:pt x="380" y="1"/>
                  </a:lnTo>
                  <a:lnTo>
                    <a:pt x="377" y="0"/>
                  </a:lnTo>
                  <a:lnTo>
                    <a:pt x="374" y="0"/>
                  </a:lnTo>
                  <a:lnTo>
                    <a:pt x="371" y="0"/>
                  </a:lnTo>
                  <a:lnTo>
                    <a:pt x="368" y="1"/>
                  </a:lnTo>
                  <a:lnTo>
                    <a:pt x="366" y="3"/>
                  </a:lnTo>
                  <a:lnTo>
                    <a:pt x="364" y="4"/>
                  </a:lnTo>
                  <a:lnTo>
                    <a:pt x="362" y="7"/>
                  </a:lnTo>
                  <a:lnTo>
                    <a:pt x="361" y="9"/>
                  </a:lnTo>
                  <a:lnTo>
                    <a:pt x="359" y="12"/>
                  </a:lnTo>
                  <a:lnTo>
                    <a:pt x="359" y="15"/>
                  </a:lnTo>
                  <a:lnTo>
                    <a:pt x="359" y="30"/>
                  </a:lnTo>
                  <a:lnTo>
                    <a:pt x="15" y="30"/>
                  </a:lnTo>
                  <a:lnTo>
                    <a:pt x="12" y="30"/>
                  </a:lnTo>
                  <a:lnTo>
                    <a:pt x="9" y="31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3" y="37"/>
                  </a:lnTo>
                  <a:lnTo>
                    <a:pt x="1" y="39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1" y="51"/>
                  </a:lnTo>
                  <a:lnTo>
                    <a:pt x="3" y="53"/>
                  </a:lnTo>
                  <a:lnTo>
                    <a:pt x="4" y="55"/>
                  </a:lnTo>
                  <a:lnTo>
                    <a:pt x="6" y="57"/>
                  </a:lnTo>
                  <a:lnTo>
                    <a:pt x="9" y="58"/>
                  </a:lnTo>
                  <a:lnTo>
                    <a:pt x="12" y="60"/>
                  </a:lnTo>
                  <a:lnTo>
                    <a:pt x="15" y="60"/>
                  </a:lnTo>
                  <a:lnTo>
                    <a:pt x="359" y="60"/>
                  </a:lnTo>
                  <a:lnTo>
                    <a:pt x="359" y="89"/>
                  </a:lnTo>
                  <a:lnTo>
                    <a:pt x="315" y="89"/>
                  </a:lnTo>
                  <a:lnTo>
                    <a:pt x="311" y="89"/>
                  </a:lnTo>
                  <a:lnTo>
                    <a:pt x="308" y="91"/>
                  </a:lnTo>
                  <a:lnTo>
                    <a:pt x="306" y="93"/>
                  </a:lnTo>
                  <a:lnTo>
                    <a:pt x="304" y="94"/>
                  </a:lnTo>
                  <a:lnTo>
                    <a:pt x="302" y="96"/>
                  </a:lnTo>
                  <a:lnTo>
                    <a:pt x="301" y="99"/>
                  </a:lnTo>
                  <a:lnTo>
                    <a:pt x="300" y="101"/>
                  </a:lnTo>
                  <a:lnTo>
                    <a:pt x="300" y="104"/>
                  </a:lnTo>
                  <a:lnTo>
                    <a:pt x="300" y="179"/>
                  </a:lnTo>
                  <a:lnTo>
                    <a:pt x="286" y="179"/>
                  </a:lnTo>
                  <a:lnTo>
                    <a:pt x="273" y="180"/>
                  </a:lnTo>
                  <a:lnTo>
                    <a:pt x="259" y="183"/>
                  </a:lnTo>
                  <a:lnTo>
                    <a:pt x="246" y="185"/>
                  </a:lnTo>
                  <a:lnTo>
                    <a:pt x="233" y="188"/>
                  </a:lnTo>
                  <a:lnTo>
                    <a:pt x="220" y="191"/>
                  </a:lnTo>
                  <a:lnTo>
                    <a:pt x="209" y="195"/>
                  </a:lnTo>
                  <a:lnTo>
                    <a:pt x="196" y="200"/>
                  </a:lnTo>
                  <a:lnTo>
                    <a:pt x="184" y="205"/>
                  </a:lnTo>
                  <a:lnTo>
                    <a:pt x="172" y="212"/>
                  </a:lnTo>
                  <a:lnTo>
                    <a:pt x="161" y="217"/>
                  </a:lnTo>
                  <a:lnTo>
                    <a:pt x="151" y="224"/>
                  </a:lnTo>
                  <a:lnTo>
                    <a:pt x="129" y="238"/>
                  </a:lnTo>
                  <a:lnTo>
                    <a:pt x="110" y="254"/>
                  </a:lnTo>
                  <a:lnTo>
                    <a:pt x="93" y="270"/>
                  </a:lnTo>
                  <a:lnTo>
                    <a:pt x="77" y="289"/>
                  </a:lnTo>
                  <a:lnTo>
                    <a:pt x="63" y="307"/>
                  </a:lnTo>
                  <a:lnTo>
                    <a:pt x="51" y="326"/>
                  </a:lnTo>
                  <a:lnTo>
                    <a:pt x="47" y="336"/>
                  </a:lnTo>
                  <a:lnTo>
                    <a:pt x="43" y="345"/>
                  </a:lnTo>
                  <a:lnTo>
                    <a:pt x="38" y="356"/>
                  </a:lnTo>
                  <a:lnTo>
                    <a:pt x="35" y="366"/>
                  </a:lnTo>
                  <a:lnTo>
                    <a:pt x="33" y="375"/>
                  </a:lnTo>
                  <a:lnTo>
                    <a:pt x="31" y="385"/>
                  </a:lnTo>
                  <a:lnTo>
                    <a:pt x="30" y="395"/>
                  </a:lnTo>
                  <a:lnTo>
                    <a:pt x="30" y="404"/>
                  </a:lnTo>
                  <a:lnTo>
                    <a:pt x="30" y="418"/>
                  </a:lnTo>
                  <a:lnTo>
                    <a:pt x="31" y="432"/>
                  </a:lnTo>
                  <a:lnTo>
                    <a:pt x="33" y="447"/>
                  </a:lnTo>
                  <a:lnTo>
                    <a:pt x="35" y="461"/>
                  </a:lnTo>
                  <a:lnTo>
                    <a:pt x="38" y="474"/>
                  </a:lnTo>
                  <a:lnTo>
                    <a:pt x="42" y="487"/>
                  </a:lnTo>
                  <a:lnTo>
                    <a:pt x="46" y="499"/>
                  </a:lnTo>
                  <a:lnTo>
                    <a:pt x="50" y="511"/>
                  </a:lnTo>
                  <a:lnTo>
                    <a:pt x="56" y="522"/>
                  </a:lnTo>
                  <a:lnTo>
                    <a:pt x="62" y="533"/>
                  </a:lnTo>
                  <a:lnTo>
                    <a:pt x="68" y="541"/>
                  </a:lnTo>
                  <a:lnTo>
                    <a:pt x="76" y="550"/>
                  </a:lnTo>
                  <a:lnTo>
                    <a:pt x="83" y="556"/>
                  </a:lnTo>
                  <a:lnTo>
                    <a:pt x="92" y="562"/>
                  </a:lnTo>
                  <a:lnTo>
                    <a:pt x="101" y="566"/>
                  </a:lnTo>
                  <a:lnTo>
                    <a:pt x="111" y="568"/>
                  </a:lnTo>
                  <a:lnTo>
                    <a:pt x="95" y="598"/>
                  </a:lnTo>
                  <a:lnTo>
                    <a:pt x="30" y="598"/>
                  </a:lnTo>
                  <a:lnTo>
                    <a:pt x="30" y="596"/>
                  </a:lnTo>
                  <a:lnTo>
                    <a:pt x="29" y="593"/>
                  </a:lnTo>
                  <a:lnTo>
                    <a:pt x="28" y="590"/>
                  </a:lnTo>
                  <a:lnTo>
                    <a:pt x="25" y="588"/>
                  </a:lnTo>
                  <a:lnTo>
                    <a:pt x="23" y="586"/>
                  </a:lnTo>
                  <a:lnTo>
                    <a:pt x="21" y="585"/>
                  </a:lnTo>
                  <a:lnTo>
                    <a:pt x="18" y="584"/>
                  </a:lnTo>
                  <a:lnTo>
                    <a:pt x="15" y="583"/>
                  </a:lnTo>
                  <a:lnTo>
                    <a:pt x="12" y="584"/>
                  </a:lnTo>
                  <a:lnTo>
                    <a:pt x="9" y="585"/>
                  </a:lnTo>
                  <a:lnTo>
                    <a:pt x="6" y="586"/>
                  </a:lnTo>
                  <a:lnTo>
                    <a:pt x="4" y="588"/>
                  </a:lnTo>
                  <a:lnTo>
                    <a:pt x="3" y="590"/>
                  </a:lnTo>
                  <a:lnTo>
                    <a:pt x="1" y="593"/>
                  </a:lnTo>
                  <a:lnTo>
                    <a:pt x="0" y="596"/>
                  </a:lnTo>
                  <a:lnTo>
                    <a:pt x="0" y="598"/>
                  </a:lnTo>
                  <a:lnTo>
                    <a:pt x="1" y="605"/>
                  </a:lnTo>
                  <a:lnTo>
                    <a:pt x="2" y="611"/>
                  </a:lnTo>
                  <a:lnTo>
                    <a:pt x="4" y="616"/>
                  </a:lnTo>
                  <a:lnTo>
                    <a:pt x="8" y="620"/>
                  </a:lnTo>
                  <a:lnTo>
                    <a:pt x="13" y="624"/>
                  </a:lnTo>
                  <a:lnTo>
                    <a:pt x="17" y="627"/>
                  </a:lnTo>
                  <a:lnTo>
                    <a:pt x="23" y="628"/>
                  </a:lnTo>
                  <a:lnTo>
                    <a:pt x="30" y="628"/>
                  </a:lnTo>
                  <a:lnTo>
                    <a:pt x="479" y="628"/>
                  </a:lnTo>
                  <a:lnTo>
                    <a:pt x="482" y="628"/>
                  </a:lnTo>
                  <a:lnTo>
                    <a:pt x="485" y="627"/>
                  </a:lnTo>
                  <a:lnTo>
                    <a:pt x="487" y="626"/>
                  </a:lnTo>
                  <a:lnTo>
                    <a:pt x="489" y="624"/>
                  </a:lnTo>
                  <a:lnTo>
                    <a:pt x="491" y="621"/>
                  </a:lnTo>
                  <a:lnTo>
                    <a:pt x="492" y="619"/>
                  </a:lnTo>
                  <a:lnTo>
                    <a:pt x="493" y="616"/>
                  </a:lnTo>
                  <a:lnTo>
                    <a:pt x="494" y="613"/>
                  </a:lnTo>
                  <a:lnTo>
                    <a:pt x="493" y="611"/>
                  </a:lnTo>
                  <a:lnTo>
                    <a:pt x="492" y="608"/>
                  </a:lnTo>
                  <a:lnTo>
                    <a:pt x="491" y="605"/>
                  </a:lnTo>
                  <a:lnTo>
                    <a:pt x="489" y="603"/>
                  </a:lnTo>
                  <a:lnTo>
                    <a:pt x="487" y="601"/>
                  </a:lnTo>
                  <a:lnTo>
                    <a:pt x="485" y="600"/>
                  </a:lnTo>
                  <a:lnTo>
                    <a:pt x="482" y="599"/>
                  </a:lnTo>
                  <a:lnTo>
                    <a:pt x="479" y="598"/>
                  </a:lnTo>
                  <a:lnTo>
                    <a:pt x="398" y="598"/>
                  </a:lnTo>
                  <a:lnTo>
                    <a:pt x="382" y="567"/>
                  </a:lnTo>
                  <a:lnTo>
                    <a:pt x="392" y="563"/>
                  </a:lnTo>
                  <a:lnTo>
                    <a:pt x="401" y="558"/>
                  </a:lnTo>
                  <a:lnTo>
                    <a:pt x="410" y="553"/>
                  </a:lnTo>
                  <a:lnTo>
                    <a:pt x="418" y="548"/>
                  </a:lnTo>
                  <a:lnTo>
                    <a:pt x="426" y="541"/>
                  </a:lnTo>
                  <a:lnTo>
                    <a:pt x="433" y="535"/>
                  </a:lnTo>
                  <a:lnTo>
                    <a:pt x="441" y="527"/>
                  </a:lnTo>
                  <a:lnTo>
                    <a:pt x="447" y="520"/>
                  </a:lnTo>
                  <a:lnTo>
                    <a:pt x="459" y="503"/>
                  </a:lnTo>
                  <a:lnTo>
                    <a:pt x="471" y="486"/>
                  </a:lnTo>
                  <a:lnTo>
                    <a:pt x="480" y="467"/>
                  </a:lnTo>
                  <a:lnTo>
                    <a:pt x="489" y="449"/>
                  </a:lnTo>
                  <a:lnTo>
                    <a:pt x="497" y="430"/>
                  </a:lnTo>
                  <a:lnTo>
                    <a:pt x="503" y="412"/>
                  </a:lnTo>
                  <a:lnTo>
                    <a:pt x="508" y="393"/>
                  </a:lnTo>
                  <a:lnTo>
                    <a:pt x="513" y="376"/>
                  </a:lnTo>
                  <a:lnTo>
                    <a:pt x="519" y="347"/>
                  </a:lnTo>
                  <a:lnTo>
                    <a:pt x="522" y="326"/>
                  </a:lnTo>
                  <a:lnTo>
                    <a:pt x="677" y="284"/>
                  </a:lnTo>
                  <a:lnTo>
                    <a:pt x="681" y="283"/>
                  </a:lnTo>
                  <a:lnTo>
                    <a:pt x="683" y="282"/>
                  </a:lnTo>
                  <a:lnTo>
                    <a:pt x="685" y="280"/>
                  </a:lnTo>
                  <a:lnTo>
                    <a:pt x="686" y="277"/>
                  </a:lnTo>
                  <a:lnTo>
                    <a:pt x="688" y="275"/>
                  </a:lnTo>
                  <a:lnTo>
                    <a:pt x="688" y="271"/>
                  </a:lnTo>
                  <a:lnTo>
                    <a:pt x="688" y="269"/>
                  </a:lnTo>
                  <a:lnTo>
                    <a:pt x="688" y="266"/>
                  </a:lnTo>
                  <a:lnTo>
                    <a:pt x="687" y="263"/>
                  </a:lnTo>
                  <a:lnTo>
                    <a:pt x="685" y="261"/>
                  </a:lnTo>
                  <a:lnTo>
                    <a:pt x="683" y="258"/>
                  </a:lnTo>
                  <a:lnTo>
                    <a:pt x="681" y="256"/>
                  </a:lnTo>
                  <a:lnTo>
                    <a:pt x="679" y="255"/>
                  </a:lnTo>
                  <a:lnTo>
                    <a:pt x="675" y="254"/>
                  </a:lnTo>
                  <a:lnTo>
                    <a:pt x="672" y="254"/>
                  </a:lnTo>
                  <a:lnTo>
                    <a:pt x="670" y="255"/>
                  </a:lnTo>
                  <a:lnTo>
                    <a:pt x="505" y="300"/>
                  </a:lnTo>
                  <a:lnTo>
                    <a:pt x="501" y="302"/>
                  </a:lnTo>
                  <a:lnTo>
                    <a:pt x="498" y="305"/>
                  </a:lnTo>
                  <a:lnTo>
                    <a:pt x="495" y="308"/>
                  </a:lnTo>
                  <a:lnTo>
                    <a:pt x="494" y="312"/>
                  </a:lnTo>
                  <a:lnTo>
                    <a:pt x="493" y="322"/>
                  </a:lnTo>
                  <a:lnTo>
                    <a:pt x="489" y="344"/>
                  </a:lnTo>
                  <a:lnTo>
                    <a:pt x="486" y="359"/>
                  </a:lnTo>
                  <a:lnTo>
                    <a:pt x="482" y="375"/>
                  </a:lnTo>
                  <a:lnTo>
                    <a:pt x="476" y="395"/>
                  </a:lnTo>
                  <a:lnTo>
                    <a:pt x="471" y="413"/>
                  </a:lnTo>
                  <a:lnTo>
                    <a:pt x="463" y="433"/>
                  </a:lnTo>
                  <a:lnTo>
                    <a:pt x="455" y="452"/>
                  </a:lnTo>
                  <a:lnTo>
                    <a:pt x="445" y="471"/>
                  </a:lnTo>
                  <a:lnTo>
                    <a:pt x="433" y="489"/>
                  </a:lnTo>
                  <a:lnTo>
                    <a:pt x="427" y="496"/>
                  </a:lnTo>
                  <a:lnTo>
                    <a:pt x="421" y="505"/>
                  </a:lnTo>
                  <a:lnTo>
                    <a:pt x="413" y="512"/>
                  </a:lnTo>
                  <a:lnTo>
                    <a:pt x="406" y="519"/>
                  </a:lnTo>
                  <a:lnTo>
                    <a:pt x="398" y="525"/>
                  </a:lnTo>
                  <a:lnTo>
                    <a:pt x="389" y="530"/>
                  </a:lnTo>
                  <a:lnTo>
                    <a:pt x="381" y="535"/>
                  </a:lnTo>
                  <a:lnTo>
                    <a:pt x="371" y="538"/>
                  </a:lnTo>
                  <a:lnTo>
                    <a:pt x="120" y="538"/>
                  </a:lnTo>
                  <a:lnTo>
                    <a:pt x="113" y="538"/>
                  </a:lnTo>
                  <a:lnTo>
                    <a:pt x="107" y="535"/>
                  </a:lnTo>
                  <a:lnTo>
                    <a:pt x="101" y="532"/>
                  </a:lnTo>
                  <a:lnTo>
                    <a:pt x="95" y="526"/>
                  </a:lnTo>
                  <a:lnTo>
                    <a:pt x="90" y="520"/>
                  </a:lnTo>
                  <a:lnTo>
                    <a:pt x="85" y="512"/>
                  </a:lnTo>
                  <a:lnTo>
                    <a:pt x="81" y="505"/>
                  </a:lnTo>
                  <a:lnTo>
                    <a:pt x="77" y="495"/>
                  </a:lnTo>
                  <a:lnTo>
                    <a:pt x="73" y="486"/>
                  </a:lnTo>
                  <a:lnTo>
                    <a:pt x="69" y="475"/>
                  </a:lnTo>
                  <a:lnTo>
                    <a:pt x="66" y="463"/>
                  </a:lnTo>
                  <a:lnTo>
                    <a:pt x="64" y="452"/>
                  </a:lnTo>
                  <a:lnTo>
                    <a:pt x="62" y="441"/>
                  </a:lnTo>
                  <a:lnTo>
                    <a:pt x="61" y="428"/>
                  </a:lnTo>
                  <a:lnTo>
                    <a:pt x="60" y="416"/>
                  </a:lnTo>
                  <a:lnTo>
                    <a:pt x="60" y="404"/>
                  </a:lnTo>
                  <a:lnTo>
                    <a:pt x="60" y="396"/>
                  </a:lnTo>
                  <a:lnTo>
                    <a:pt x="61" y="387"/>
                  </a:lnTo>
                  <a:lnTo>
                    <a:pt x="63" y="380"/>
                  </a:lnTo>
                  <a:lnTo>
                    <a:pt x="65" y="371"/>
                  </a:lnTo>
                  <a:lnTo>
                    <a:pt x="71" y="354"/>
                  </a:lnTo>
                  <a:lnTo>
                    <a:pt x="79" y="338"/>
                  </a:lnTo>
                  <a:lnTo>
                    <a:pt x="90" y="321"/>
                  </a:lnTo>
                  <a:lnTo>
                    <a:pt x="103" y="305"/>
                  </a:lnTo>
                  <a:lnTo>
                    <a:pt x="116" y="290"/>
                  </a:lnTo>
                  <a:lnTo>
                    <a:pt x="133" y="275"/>
                  </a:lnTo>
                  <a:lnTo>
                    <a:pt x="150" y="261"/>
                  </a:lnTo>
                  <a:lnTo>
                    <a:pt x="168" y="248"/>
                  </a:lnTo>
                  <a:lnTo>
                    <a:pt x="187" y="237"/>
                  </a:lnTo>
                  <a:lnTo>
                    <a:pt x="209" y="228"/>
                  </a:lnTo>
                  <a:lnTo>
                    <a:pt x="230" y="220"/>
                  </a:lnTo>
                  <a:lnTo>
                    <a:pt x="252" y="214"/>
                  </a:lnTo>
                  <a:lnTo>
                    <a:pt x="264" y="212"/>
                  </a:lnTo>
                  <a:lnTo>
                    <a:pt x="276" y="210"/>
                  </a:lnTo>
                  <a:lnTo>
                    <a:pt x="288" y="209"/>
                  </a:lnTo>
                  <a:lnTo>
                    <a:pt x="300" y="209"/>
                  </a:lnTo>
                  <a:lnTo>
                    <a:pt x="315" y="209"/>
                  </a:lnTo>
                  <a:lnTo>
                    <a:pt x="434" y="209"/>
                  </a:lnTo>
                  <a:lnTo>
                    <a:pt x="673" y="209"/>
                  </a:lnTo>
                  <a:lnTo>
                    <a:pt x="676" y="209"/>
                  </a:lnTo>
                  <a:lnTo>
                    <a:pt x="680" y="208"/>
                  </a:lnTo>
                  <a:lnTo>
                    <a:pt x="682" y="207"/>
                  </a:lnTo>
                  <a:lnTo>
                    <a:pt x="684" y="205"/>
                  </a:lnTo>
                  <a:lnTo>
                    <a:pt x="686" y="203"/>
                  </a:lnTo>
                  <a:lnTo>
                    <a:pt x="687" y="201"/>
                  </a:lnTo>
                  <a:lnTo>
                    <a:pt x="688" y="198"/>
                  </a:lnTo>
                  <a:lnTo>
                    <a:pt x="688" y="194"/>
                  </a:lnTo>
                  <a:lnTo>
                    <a:pt x="688" y="191"/>
                  </a:lnTo>
                  <a:lnTo>
                    <a:pt x="687" y="189"/>
                  </a:lnTo>
                  <a:lnTo>
                    <a:pt x="686" y="186"/>
                  </a:lnTo>
                  <a:lnTo>
                    <a:pt x="684" y="184"/>
                  </a:lnTo>
                  <a:lnTo>
                    <a:pt x="682" y="182"/>
                  </a:lnTo>
                  <a:lnTo>
                    <a:pt x="680" y="180"/>
                  </a:lnTo>
                  <a:lnTo>
                    <a:pt x="676" y="179"/>
                  </a:lnTo>
                  <a:lnTo>
                    <a:pt x="673" y="179"/>
                  </a:lnTo>
                  <a:lnTo>
                    <a:pt x="449" y="179"/>
                  </a:lnTo>
                  <a:lnTo>
                    <a:pt x="449" y="104"/>
                  </a:lnTo>
                  <a:lnTo>
                    <a:pt x="448" y="101"/>
                  </a:lnTo>
                  <a:lnTo>
                    <a:pt x="447" y="99"/>
                  </a:lnTo>
                  <a:lnTo>
                    <a:pt x="446" y="96"/>
                  </a:lnTo>
                  <a:lnTo>
                    <a:pt x="444" y="94"/>
                  </a:lnTo>
                  <a:lnTo>
                    <a:pt x="442" y="93"/>
                  </a:lnTo>
                  <a:lnTo>
                    <a:pt x="440" y="91"/>
                  </a:lnTo>
                  <a:lnTo>
                    <a:pt x="437" y="89"/>
                  </a:lnTo>
                  <a:lnTo>
                    <a:pt x="434" y="89"/>
                  </a:lnTo>
                  <a:lnTo>
                    <a:pt x="389" y="89"/>
                  </a:lnTo>
                  <a:lnTo>
                    <a:pt x="389" y="60"/>
                  </a:lnTo>
                  <a:lnTo>
                    <a:pt x="718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105"/>
            <p:cNvSpPr>
              <a:spLocks noEditPoints="1"/>
            </p:cNvSpPr>
            <p:nvPr/>
          </p:nvSpPr>
          <p:spPr bwMode="auto">
            <a:xfrm>
              <a:off x="5505450" y="3506788"/>
              <a:ext cx="47625" cy="47625"/>
            </a:xfrm>
            <a:custGeom>
              <a:avLst/>
              <a:gdLst>
                <a:gd name="T0" fmla="*/ 120 w 150"/>
                <a:gd name="T1" fmla="*/ 120 h 150"/>
                <a:gd name="T2" fmla="*/ 31 w 150"/>
                <a:gd name="T3" fmla="*/ 120 h 150"/>
                <a:gd name="T4" fmla="*/ 33 w 150"/>
                <a:gd name="T5" fmla="*/ 112 h 150"/>
                <a:gd name="T6" fmla="*/ 35 w 150"/>
                <a:gd name="T7" fmla="*/ 104 h 150"/>
                <a:gd name="T8" fmla="*/ 38 w 150"/>
                <a:gd name="T9" fmla="*/ 97 h 150"/>
                <a:gd name="T10" fmla="*/ 41 w 150"/>
                <a:gd name="T11" fmla="*/ 89 h 150"/>
                <a:gd name="T12" fmla="*/ 46 w 150"/>
                <a:gd name="T13" fmla="*/ 83 h 150"/>
                <a:gd name="T14" fmla="*/ 51 w 150"/>
                <a:gd name="T15" fmla="*/ 75 h 150"/>
                <a:gd name="T16" fmla="*/ 56 w 150"/>
                <a:gd name="T17" fmla="*/ 69 h 150"/>
                <a:gd name="T18" fmla="*/ 62 w 150"/>
                <a:gd name="T19" fmla="*/ 62 h 150"/>
                <a:gd name="T20" fmla="*/ 68 w 150"/>
                <a:gd name="T21" fmla="*/ 57 h 150"/>
                <a:gd name="T22" fmla="*/ 75 w 150"/>
                <a:gd name="T23" fmla="*/ 52 h 150"/>
                <a:gd name="T24" fmla="*/ 81 w 150"/>
                <a:gd name="T25" fmla="*/ 46 h 150"/>
                <a:gd name="T26" fmla="*/ 89 w 150"/>
                <a:gd name="T27" fmla="*/ 42 h 150"/>
                <a:gd name="T28" fmla="*/ 96 w 150"/>
                <a:gd name="T29" fmla="*/ 39 h 150"/>
                <a:gd name="T30" fmla="*/ 104 w 150"/>
                <a:gd name="T31" fmla="*/ 36 h 150"/>
                <a:gd name="T32" fmla="*/ 111 w 150"/>
                <a:gd name="T33" fmla="*/ 33 h 150"/>
                <a:gd name="T34" fmla="*/ 120 w 150"/>
                <a:gd name="T35" fmla="*/ 31 h 150"/>
                <a:gd name="T36" fmla="*/ 120 w 150"/>
                <a:gd name="T37" fmla="*/ 120 h 150"/>
                <a:gd name="T38" fmla="*/ 0 w 150"/>
                <a:gd name="T39" fmla="*/ 135 h 150"/>
                <a:gd name="T40" fmla="*/ 0 w 150"/>
                <a:gd name="T41" fmla="*/ 138 h 150"/>
                <a:gd name="T42" fmla="*/ 1 w 150"/>
                <a:gd name="T43" fmla="*/ 141 h 150"/>
                <a:gd name="T44" fmla="*/ 2 w 150"/>
                <a:gd name="T45" fmla="*/ 144 h 150"/>
                <a:gd name="T46" fmla="*/ 4 w 150"/>
                <a:gd name="T47" fmla="*/ 146 h 150"/>
                <a:gd name="T48" fmla="*/ 6 w 150"/>
                <a:gd name="T49" fmla="*/ 147 h 150"/>
                <a:gd name="T50" fmla="*/ 9 w 150"/>
                <a:gd name="T51" fmla="*/ 149 h 150"/>
                <a:gd name="T52" fmla="*/ 11 w 150"/>
                <a:gd name="T53" fmla="*/ 149 h 150"/>
                <a:gd name="T54" fmla="*/ 15 w 150"/>
                <a:gd name="T55" fmla="*/ 150 h 150"/>
                <a:gd name="T56" fmla="*/ 135 w 150"/>
                <a:gd name="T57" fmla="*/ 150 h 150"/>
                <a:gd name="T58" fmla="*/ 138 w 150"/>
                <a:gd name="T59" fmla="*/ 149 h 150"/>
                <a:gd name="T60" fmla="*/ 140 w 150"/>
                <a:gd name="T61" fmla="*/ 149 h 150"/>
                <a:gd name="T62" fmla="*/ 143 w 150"/>
                <a:gd name="T63" fmla="*/ 147 h 150"/>
                <a:gd name="T64" fmla="*/ 145 w 150"/>
                <a:gd name="T65" fmla="*/ 146 h 150"/>
                <a:gd name="T66" fmla="*/ 146 w 150"/>
                <a:gd name="T67" fmla="*/ 144 h 150"/>
                <a:gd name="T68" fmla="*/ 148 w 150"/>
                <a:gd name="T69" fmla="*/ 141 h 150"/>
                <a:gd name="T70" fmla="*/ 150 w 150"/>
                <a:gd name="T71" fmla="*/ 138 h 150"/>
                <a:gd name="T72" fmla="*/ 150 w 150"/>
                <a:gd name="T73" fmla="*/ 135 h 150"/>
                <a:gd name="T74" fmla="*/ 150 w 150"/>
                <a:gd name="T75" fmla="*/ 15 h 150"/>
                <a:gd name="T76" fmla="*/ 150 w 150"/>
                <a:gd name="T77" fmla="*/ 12 h 150"/>
                <a:gd name="T78" fmla="*/ 148 w 150"/>
                <a:gd name="T79" fmla="*/ 10 h 150"/>
                <a:gd name="T80" fmla="*/ 146 w 150"/>
                <a:gd name="T81" fmla="*/ 7 h 150"/>
                <a:gd name="T82" fmla="*/ 145 w 150"/>
                <a:gd name="T83" fmla="*/ 5 h 150"/>
                <a:gd name="T84" fmla="*/ 143 w 150"/>
                <a:gd name="T85" fmla="*/ 2 h 150"/>
                <a:gd name="T86" fmla="*/ 140 w 150"/>
                <a:gd name="T87" fmla="*/ 1 h 150"/>
                <a:gd name="T88" fmla="*/ 138 w 150"/>
                <a:gd name="T89" fmla="*/ 0 h 150"/>
                <a:gd name="T90" fmla="*/ 135 w 150"/>
                <a:gd name="T91" fmla="*/ 0 h 150"/>
                <a:gd name="T92" fmla="*/ 122 w 150"/>
                <a:gd name="T93" fmla="*/ 0 h 150"/>
                <a:gd name="T94" fmla="*/ 109 w 150"/>
                <a:gd name="T95" fmla="*/ 2 h 150"/>
                <a:gd name="T96" fmla="*/ 96 w 150"/>
                <a:gd name="T97" fmla="*/ 7 h 150"/>
                <a:gd name="T98" fmla="*/ 83 w 150"/>
                <a:gd name="T99" fmla="*/ 11 h 150"/>
                <a:gd name="T100" fmla="*/ 71 w 150"/>
                <a:gd name="T101" fmla="*/ 17 h 150"/>
                <a:gd name="T102" fmla="*/ 61 w 150"/>
                <a:gd name="T103" fmla="*/ 24 h 150"/>
                <a:gd name="T104" fmla="*/ 50 w 150"/>
                <a:gd name="T105" fmla="*/ 32 h 150"/>
                <a:gd name="T106" fmla="*/ 40 w 150"/>
                <a:gd name="T107" fmla="*/ 41 h 150"/>
                <a:gd name="T108" fmla="*/ 32 w 150"/>
                <a:gd name="T109" fmla="*/ 51 h 150"/>
                <a:gd name="T110" fmla="*/ 23 w 150"/>
                <a:gd name="T111" fmla="*/ 61 h 150"/>
                <a:gd name="T112" fmla="*/ 17 w 150"/>
                <a:gd name="T113" fmla="*/ 72 h 150"/>
                <a:gd name="T114" fmla="*/ 10 w 150"/>
                <a:gd name="T115" fmla="*/ 84 h 150"/>
                <a:gd name="T116" fmla="*/ 6 w 150"/>
                <a:gd name="T117" fmla="*/ 97 h 150"/>
                <a:gd name="T118" fmla="*/ 3 w 150"/>
                <a:gd name="T119" fmla="*/ 108 h 150"/>
                <a:gd name="T120" fmla="*/ 1 w 150"/>
                <a:gd name="T121" fmla="*/ 121 h 150"/>
                <a:gd name="T122" fmla="*/ 0 w 150"/>
                <a:gd name="T123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0" h="150">
                  <a:moveTo>
                    <a:pt x="120" y="120"/>
                  </a:moveTo>
                  <a:lnTo>
                    <a:pt x="31" y="120"/>
                  </a:lnTo>
                  <a:lnTo>
                    <a:pt x="33" y="112"/>
                  </a:lnTo>
                  <a:lnTo>
                    <a:pt x="35" y="104"/>
                  </a:lnTo>
                  <a:lnTo>
                    <a:pt x="38" y="97"/>
                  </a:lnTo>
                  <a:lnTo>
                    <a:pt x="41" y="89"/>
                  </a:lnTo>
                  <a:lnTo>
                    <a:pt x="46" y="83"/>
                  </a:lnTo>
                  <a:lnTo>
                    <a:pt x="51" y="75"/>
                  </a:lnTo>
                  <a:lnTo>
                    <a:pt x="56" y="69"/>
                  </a:lnTo>
                  <a:lnTo>
                    <a:pt x="62" y="62"/>
                  </a:lnTo>
                  <a:lnTo>
                    <a:pt x="68" y="57"/>
                  </a:lnTo>
                  <a:lnTo>
                    <a:pt x="75" y="52"/>
                  </a:lnTo>
                  <a:lnTo>
                    <a:pt x="81" y="46"/>
                  </a:lnTo>
                  <a:lnTo>
                    <a:pt x="89" y="42"/>
                  </a:lnTo>
                  <a:lnTo>
                    <a:pt x="96" y="39"/>
                  </a:lnTo>
                  <a:lnTo>
                    <a:pt x="104" y="36"/>
                  </a:lnTo>
                  <a:lnTo>
                    <a:pt x="111" y="33"/>
                  </a:lnTo>
                  <a:lnTo>
                    <a:pt x="120" y="31"/>
                  </a:lnTo>
                  <a:lnTo>
                    <a:pt x="120" y="120"/>
                  </a:lnTo>
                  <a:close/>
                  <a:moveTo>
                    <a:pt x="0" y="135"/>
                  </a:moveTo>
                  <a:lnTo>
                    <a:pt x="0" y="138"/>
                  </a:lnTo>
                  <a:lnTo>
                    <a:pt x="1" y="141"/>
                  </a:lnTo>
                  <a:lnTo>
                    <a:pt x="2" y="144"/>
                  </a:lnTo>
                  <a:lnTo>
                    <a:pt x="4" y="146"/>
                  </a:lnTo>
                  <a:lnTo>
                    <a:pt x="6" y="147"/>
                  </a:lnTo>
                  <a:lnTo>
                    <a:pt x="9" y="149"/>
                  </a:lnTo>
                  <a:lnTo>
                    <a:pt x="11" y="149"/>
                  </a:lnTo>
                  <a:lnTo>
                    <a:pt x="15" y="150"/>
                  </a:lnTo>
                  <a:lnTo>
                    <a:pt x="135" y="150"/>
                  </a:lnTo>
                  <a:lnTo>
                    <a:pt x="138" y="149"/>
                  </a:lnTo>
                  <a:lnTo>
                    <a:pt x="140" y="149"/>
                  </a:lnTo>
                  <a:lnTo>
                    <a:pt x="143" y="147"/>
                  </a:lnTo>
                  <a:lnTo>
                    <a:pt x="145" y="146"/>
                  </a:lnTo>
                  <a:lnTo>
                    <a:pt x="146" y="144"/>
                  </a:lnTo>
                  <a:lnTo>
                    <a:pt x="148" y="141"/>
                  </a:lnTo>
                  <a:lnTo>
                    <a:pt x="150" y="138"/>
                  </a:lnTo>
                  <a:lnTo>
                    <a:pt x="150" y="135"/>
                  </a:lnTo>
                  <a:lnTo>
                    <a:pt x="150" y="15"/>
                  </a:lnTo>
                  <a:lnTo>
                    <a:pt x="150" y="12"/>
                  </a:lnTo>
                  <a:lnTo>
                    <a:pt x="148" y="10"/>
                  </a:lnTo>
                  <a:lnTo>
                    <a:pt x="146" y="7"/>
                  </a:lnTo>
                  <a:lnTo>
                    <a:pt x="145" y="5"/>
                  </a:lnTo>
                  <a:lnTo>
                    <a:pt x="143" y="2"/>
                  </a:lnTo>
                  <a:lnTo>
                    <a:pt x="140" y="1"/>
                  </a:lnTo>
                  <a:lnTo>
                    <a:pt x="138" y="0"/>
                  </a:lnTo>
                  <a:lnTo>
                    <a:pt x="135" y="0"/>
                  </a:lnTo>
                  <a:lnTo>
                    <a:pt x="122" y="0"/>
                  </a:lnTo>
                  <a:lnTo>
                    <a:pt x="109" y="2"/>
                  </a:lnTo>
                  <a:lnTo>
                    <a:pt x="96" y="7"/>
                  </a:lnTo>
                  <a:lnTo>
                    <a:pt x="83" y="11"/>
                  </a:lnTo>
                  <a:lnTo>
                    <a:pt x="71" y="17"/>
                  </a:lnTo>
                  <a:lnTo>
                    <a:pt x="61" y="24"/>
                  </a:lnTo>
                  <a:lnTo>
                    <a:pt x="50" y="32"/>
                  </a:lnTo>
                  <a:lnTo>
                    <a:pt x="40" y="41"/>
                  </a:lnTo>
                  <a:lnTo>
                    <a:pt x="32" y="51"/>
                  </a:lnTo>
                  <a:lnTo>
                    <a:pt x="23" y="61"/>
                  </a:lnTo>
                  <a:lnTo>
                    <a:pt x="17" y="72"/>
                  </a:lnTo>
                  <a:lnTo>
                    <a:pt x="10" y="84"/>
                  </a:lnTo>
                  <a:lnTo>
                    <a:pt x="6" y="97"/>
                  </a:lnTo>
                  <a:lnTo>
                    <a:pt x="3" y="108"/>
                  </a:lnTo>
                  <a:lnTo>
                    <a:pt x="1" y="121"/>
                  </a:lnTo>
                  <a:lnTo>
                    <a:pt x="0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8190837" y="3659101"/>
            <a:ext cx="467245" cy="301148"/>
            <a:chOff x="5505450" y="2765425"/>
            <a:chExt cx="238125" cy="285750"/>
          </a:xfrm>
          <a:solidFill>
            <a:schemeClr val="bg1"/>
          </a:solidFill>
        </p:grpSpPr>
        <p:sp>
          <p:nvSpPr>
            <p:cNvPr id="58" name="Freeform 128"/>
            <p:cNvSpPr>
              <a:spLocks/>
            </p:cNvSpPr>
            <p:nvPr/>
          </p:nvSpPr>
          <p:spPr bwMode="auto">
            <a:xfrm>
              <a:off x="5586413" y="2851150"/>
              <a:ext cx="76200" cy="9525"/>
            </a:xfrm>
            <a:custGeom>
              <a:avLst/>
              <a:gdLst>
                <a:gd name="T0" fmla="*/ 239 w 239"/>
                <a:gd name="T1" fmla="*/ 15 h 30"/>
                <a:gd name="T2" fmla="*/ 239 w 239"/>
                <a:gd name="T3" fmla="*/ 13 h 30"/>
                <a:gd name="T4" fmla="*/ 238 w 239"/>
                <a:gd name="T5" fmla="*/ 10 h 30"/>
                <a:gd name="T6" fmla="*/ 237 w 239"/>
                <a:gd name="T7" fmla="*/ 8 h 30"/>
                <a:gd name="T8" fmla="*/ 235 w 239"/>
                <a:gd name="T9" fmla="*/ 6 h 30"/>
                <a:gd name="T10" fmla="*/ 233 w 239"/>
                <a:gd name="T11" fmla="*/ 4 h 30"/>
                <a:gd name="T12" fmla="*/ 231 w 239"/>
                <a:gd name="T13" fmla="*/ 3 h 30"/>
                <a:gd name="T14" fmla="*/ 227 w 239"/>
                <a:gd name="T15" fmla="*/ 2 h 30"/>
                <a:gd name="T16" fmla="*/ 224 w 239"/>
                <a:gd name="T17" fmla="*/ 0 h 30"/>
                <a:gd name="T18" fmla="*/ 15 w 239"/>
                <a:gd name="T19" fmla="*/ 0 h 30"/>
                <a:gd name="T20" fmla="*/ 12 w 239"/>
                <a:gd name="T21" fmla="*/ 2 h 30"/>
                <a:gd name="T22" fmla="*/ 9 w 239"/>
                <a:gd name="T23" fmla="*/ 3 h 30"/>
                <a:gd name="T24" fmla="*/ 7 w 239"/>
                <a:gd name="T25" fmla="*/ 4 h 30"/>
                <a:gd name="T26" fmla="*/ 5 w 239"/>
                <a:gd name="T27" fmla="*/ 6 h 30"/>
                <a:gd name="T28" fmla="*/ 3 w 239"/>
                <a:gd name="T29" fmla="*/ 8 h 30"/>
                <a:gd name="T30" fmla="*/ 2 w 239"/>
                <a:gd name="T31" fmla="*/ 10 h 30"/>
                <a:gd name="T32" fmla="*/ 0 w 239"/>
                <a:gd name="T33" fmla="*/ 13 h 30"/>
                <a:gd name="T34" fmla="*/ 0 w 239"/>
                <a:gd name="T35" fmla="*/ 15 h 30"/>
                <a:gd name="T36" fmla="*/ 0 w 239"/>
                <a:gd name="T37" fmla="*/ 19 h 30"/>
                <a:gd name="T38" fmla="*/ 2 w 239"/>
                <a:gd name="T39" fmla="*/ 22 h 30"/>
                <a:gd name="T40" fmla="*/ 3 w 239"/>
                <a:gd name="T41" fmla="*/ 25 h 30"/>
                <a:gd name="T42" fmla="*/ 5 w 239"/>
                <a:gd name="T43" fmla="*/ 27 h 30"/>
                <a:gd name="T44" fmla="*/ 7 w 239"/>
                <a:gd name="T45" fmla="*/ 28 h 30"/>
                <a:gd name="T46" fmla="*/ 9 w 239"/>
                <a:gd name="T47" fmla="*/ 29 h 30"/>
                <a:gd name="T48" fmla="*/ 12 w 239"/>
                <a:gd name="T49" fmla="*/ 30 h 30"/>
                <a:gd name="T50" fmla="*/ 15 w 239"/>
                <a:gd name="T51" fmla="*/ 30 h 30"/>
                <a:gd name="T52" fmla="*/ 224 w 239"/>
                <a:gd name="T53" fmla="*/ 30 h 30"/>
                <a:gd name="T54" fmla="*/ 227 w 239"/>
                <a:gd name="T55" fmla="*/ 30 h 30"/>
                <a:gd name="T56" fmla="*/ 231 w 239"/>
                <a:gd name="T57" fmla="*/ 29 h 30"/>
                <a:gd name="T58" fmla="*/ 233 w 239"/>
                <a:gd name="T59" fmla="*/ 28 h 30"/>
                <a:gd name="T60" fmla="*/ 235 w 239"/>
                <a:gd name="T61" fmla="*/ 27 h 30"/>
                <a:gd name="T62" fmla="*/ 237 w 239"/>
                <a:gd name="T63" fmla="*/ 25 h 30"/>
                <a:gd name="T64" fmla="*/ 238 w 239"/>
                <a:gd name="T65" fmla="*/ 22 h 30"/>
                <a:gd name="T66" fmla="*/ 239 w 239"/>
                <a:gd name="T67" fmla="*/ 19 h 30"/>
                <a:gd name="T68" fmla="*/ 239 w 239"/>
                <a:gd name="T6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9" h="30">
                  <a:moveTo>
                    <a:pt x="239" y="15"/>
                  </a:moveTo>
                  <a:lnTo>
                    <a:pt x="239" y="13"/>
                  </a:lnTo>
                  <a:lnTo>
                    <a:pt x="238" y="10"/>
                  </a:lnTo>
                  <a:lnTo>
                    <a:pt x="237" y="8"/>
                  </a:lnTo>
                  <a:lnTo>
                    <a:pt x="235" y="6"/>
                  </a:lnTo>
                  <a:lnTo>
                    <a:pt x="233" y="4"/>
                  </a:lnTo>
                  <a:lnTo>
                    <a:pt x="231" y="3"/>
                  </a:lnTo>
                  <a:lnTo>
                    <a:pt x="227" y="2"/>
                  </a:lnTo>
                  <a:lnTo>
                    <a:pt x="224" y="0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9" y="3"/>
                  </a:lnTo>
                  <a:lnTo>
                    <a:pt x="7" y="4"/>
                  </a:lnTo>
                  <a:lnTo>
                    <a:pt x="5" y="6"/>
                  </a:lnTo>
                  <a:lnTo>
                    <a:pt x="3" y="8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  <a:lnTo>
                    <a:pt x="5" y="27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224" y="30"/>
                  </a:lnTo>
                  <a:lnTo>
                    <a:pt x="227" y="30"/>
                  </a:lnTo>
                  <a:lnTo>
                    <a:pt x="231" y="29"/>
                  </a:lnTo>
                  <a:lnTo>
                    <a:pt x="233" y="28"/>
                  </a:lnTo>
                  <a:lnTo>
                    <a:pt x="235" y="27"/>
                  </a:lnTo>
                  <a:lnTo>
                    <a:pt x="237" y="25"/>
                  </a:lnTo>
                  <a:lnTo>
                    <a:pt x="238" y="22"/>
                  </a:lnTo>
                  <a:lnTo>
                    <a:pt x="239" y="19"/>
                  </a:lnTo>
                  <a:lnTo>
                    <a:pt x="239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29"/>
            <p:cNvSpPr>
              <a:spLocks noEditPoints="1"/>
            </p:cNvSpPr>
            <p:nvPr/>
          </p:nvSpPr>
          <p:spPr bwMode="auto">
            <a:xfrm>
              <a:off x="5505450" y="2765425"/>
              <a:ext cx="238125" cy="285750"/>
            </a:xfrm>
            <a:custGeom>
              <a:avLst/>
              <a:gdLst>
                <a:gd name="T0" fmla="*/ 485 w 748"/>
                <a:gd name="T1" fmla="*/ 867 h 898"/>
                <a:gd name="T2" fmla="*/ 449 w 748"/>
                <a:gd name="T3" fmla="*/ 843 h 898"/>
                <a:gd name="T4" fmla="*/ 423 w 748"/>
                <a:gd name="T5" fmla="*/ 781 h 898"/>
                <a:gd name="T6" fmla="*/ 548 w 748"/>
                <a:gd name="T7" fmla="*/ 774 h 898"/>
                <a:gd name="T8" fmla="*/ 508 w 748"/>
                <a:gd name="T9" fmla="*/ 838 h 898"/>
                <a:gd name="T10" fmla="*/ 275 w 748"/>
                <a:gd name="T11" fmla="*/ 867 h 898"/>
                <a:gd name="T12" fmla="*/ 239 w 748"/>
                <a:gd name="T13" fmla="*/ 843 h 898"/>
                <a:gd name="T14" fmla="*/ 197 w 748"/>
                <a:gd name="T15" fmla="*/ 772 h 898"/>
                <a:gd name="T16" fmla="*/ 335 w 748"/>
                <a:gd name="T17" fmla="*/ 774 h 898"/>
                <a:gd name="T18" fmla="*/ 299 w 748"/>
                <a:gd name="T19" fmla="*/ 838 h 898"/>
                <a:gd name="T20" fmla="*/ 183 w 748"/>
                <a:gd name="T21" fmla="*/ 236 h 898"/>
                <a:gd name="T22" fmla="*/ 533 w 748"/>
                <a:gd name="T23" fmla="*/ 210 h 898"/>
                <a:gd name="T24" fmla="*/ 568 w 748"/>
                <a:gd name="T25" fmla="*/ 390 h 898"/>
                <a:gd name="T26" fmla="*/ 329 w 748"/>
                <a:gd name="T27" fmla="*/ 90 h 898"/>
                <a:gd name="T28" fmla="*/ 389 w 748"/>
                <a:gd name="T29" fmla="*/ 378 h 898"/>
                <a:gd name="T30" fmla="*/ 720 w 748"/>
                <a:gd name="T31" fmla="*/ 829 h 898"/>
                <a:gd name="T32" fmla="*/ 705 w 748"/>
                <a:gd name="T33" fmla="*/ 863 h 898"/>
                <a:gd name="T34" fmla="*/ 663 w 748"/>
                <a:gd name="T35" fmla="*/ 854 h 898"/>
                <a:gd name="T36" fmla="*/ 650 w 748"/>
                <a:gd name="T37" fmla="*/ 803 h 898"/>
                <a:gd name="T38" fmla="*/ 606 w 748"/>
                <a:gd name="T39" fmla="*/ 766 h 898"/>
                <a:gd name="T40" fmla="*/ 687 w 748"/>
                <a:gd name="T41" fmla="*/ 448 h 898"/>
                <a:gd name="T42" fmla="*/ 702 w 748"/>
                <a:gd name="T43" fmla="*/ 429 h 898"/>
                <a:gd name="T44" fmla="*/ 598 w 748"/>
                <a:gd name="T45" fmla="*/ 246 h 898"/>
                <a:gd name="T46" fmla="*/ 571 w 748"/>
                <a:gd name="T47" fmla="*/ 197 h 898"/>
                <a:gd name="T48" fmla="*/ 448 w 748"/>
                <a:gd name="T49" fmla="*/ 180 h 898"/>
                <a:gd name="T50" fmla="*/ 436 w 748"/>
                <a:gd name="T51" fmla="*/ 0 h 898"/>
                <a:gd name="T52" fmla="*/ 301 w 748"/>
                <a:gd name="T53" fmla="*/ 9 h 898"/>
                <a:gd name="T54" fmla="*/ 196 w 748"/>
                <a:gd name="T55" fmla="*/ 185 h 898"/>
                <a:gd name="T56" fmla="*/ 155 w 748"/>
                <a:gd name="T57" fmla="*/ 226 h 898"/>
                <a:gd name="T58" fmla="*/ 51 w 748"/>
                <a:gd name="T59" fmla="*/ 423 h 898"/>
                <a:gd name="T60" fmla="*/ 48 w 748"/>
                <a:gd name="T61" fmla="*/ 443 h 898"/>
                <a:gd name="T62" fmla="*/ 141 w 748"/>
                <a:gd name="T63" fmla="*/ 767 h 898"/>
                <a:gd name="T64" fmla="*/ 100 w 748"/>
                <a:gd name="T65" fmla="*/ 799 h 898"/>
                <a:gd name="T66" fmla="*/ 87 w 748"/>
                <a:gd name="T67" fmla="*/ 850 h 898"/>
                <a:gd name="T68" fmla="*/ 48 w 748"/>
                <a:gd name="T69" fmla="*/ 865 h 898"/>
                <a:gd name="T70" fmla="*/ 29 w 748"/>
                <a:gd name="T71" fmla="*/ 833 h 898"/>
                <a:gd name="T72" fmla="*/ 9 w 748"/>
                <a:gd name="T73" fmla="*/ 824 h 898"/>
                <a:gd name="T74" fmla="*/ 1 w 748"/>
                <a:gd name="T75" fmla="*/ 850 h 898"/>
                <a:gd name="T76" fmla="*/ 26 w 748"/>
                <a:gd name="T77" fmla="*/ 887 h 898"/>
                <a:gd name="T78" fmla="*/ 71 w 748"/>
                <a:gd name="T79" fmla="*/ 896 h 898"/>
                <a:gd name="T80" fmla="*/ 109 w 748"/>
                <a:gd name="T81" fmla="*/ 871 h 898"/>
                <a:gd name="T82" fmla="*/ 123 w 748"/>
                <a:gd name="T83" fmla="*/ 821 h 898"/>
                <a:gd name="T84" fmla="*/ 182 w 748"/>
                <a:gd name="T85" fmla="*/ 796 h 898"/>
                <a:gd name="T86" fmla="*/ 211 w 748"/>
                <a:gd name="T87" fmla="*/ 850 h 898"/>
                <a:gd name="T88" fmla="*/ 235 w 748"/>
                <a:gd name="T89" fmla="*/ 887 h 898"/>
                <a:gd name="T90" fmla="*/ 281 w 748"/>
                <a:gd name="T91" fmla="*/ 896 h 898"/>
                <a:gd name="T92" fmla="*/ 319 w 748"/>
                <a:gd name="T93" fmla="*/ 871 h 898"/>
                <a:gd name="T94" fmla="*/ 333 w 748"/>
                <a:gd name="T95" fmla="*/ 821 h 898"/>
                <a:gd name="T96" fmla="*/ 392 w 748"/>
                <a:gd name="T97" fmla="*/ 796 h 898"/>
                <a:gd name="T98" fmla="*/ 420 w 748"/>
                <a:gd name="T99" fmla="*/ 850 h 898"/>
                <a:gd name="T100" fmla="*/ 445 w 748"/>
                <a:gd name="T101" fmla="*/ 887 h 898"/>
                <a:gd name="T102" fmla="*/ 491 w 748"/>
                <a:gd name="T103" fmla="*/ 896 h 898"/>
                <a:gd name="T104" fmla="*/ 529 w 748"/>
                <a:gd name="T105" fmla="*/ 871 h 898"/>
                <a:gd name="T106" fmla="*/ 542 w 748"/>
                <a:gd name="T107" fmla="*/ 821 h 898"/>
                <a:gd name="T108" fmla="*/ 601 w 748"/>
                <a:gd name="T109" fmla="*/ 796 h 898"/>
                <a:gd name="T110" fmla="*/ 629 w 748"/>
                <a:gd name="T111" fmla="*/ 850 h 898"/>
                <a:gd name="T112" fmla="*/ 655 w 748"/>
                <a:gd name="T113" fmla="*/ 887 h 898"/>
                <a:gd name="T114" fmla="*/ 700 w 748"/>
                <a:gd name="T115" fmla="*/ 896 h 898"/>
                <a:gd name="T116" fmla="*/ 737 w 748"/>
                <a:gd name="T117" fmla="*/ 871 h 898"/>
                <a:gd name="T118" fmla="*/ 747 w 748"/>
                <a:gd name="T119" fmla="*/ 833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8" h="898">
                  <a:moveTo>
                    <a:pt x="508" y="838"/>
                  </a:moveTo>
                  <a:lnTo>
                    <a:pt x="508" y="843"/>
                  </a:lnTo>
                  <a:lnTo>
                    <a:pt x="506" y="850"/>
                  </a:lnTo>
                  <a:lnTo>
                    <a:pt x="504" y="854"/>
                  </a:lnTo>
                  <a:lnTo>
                    <a:pt x="500" y="858"/>
                  </a:lnTo>
                  <a:lnTo>
                    <a:pt x="495" y="863"/>
                  </a:lnTo>
                  <a:lnTo>
                    <a:pt x="490" y="865"/>
                  </a:lnTo>
                  <a:lnTo>
                    <a:pt x="485" y="867"/>
                  </a:lnTo>
                  <a:lnTo>
                    <a:pt x="478" y="868"/>
                  </a:lnTo>
                  <a:lnTo>
                    <a:pt x="473" y="867"/>
                  </a:lnTo>
                  <a:lnTo>
                    <a:pt x="468" y="865"/>
                  </a:lnTo>
                  <a:lnTo>
                    <a:pt x="462" y="863"/>
                  </a:lnTo>
                  <a:lnTo>
                    <a:pt x="458" y="858"/>
                  </a:lnTo>
                  <a:lnTo>
                    <a:pt x="454" y="854"/>
                  </a:lnTo>
                  <a:lnTo>
                    <a:pt x="451" y="850"/>
                  </a:lnTo>
                  <a:lnTo>
                    <a:pt x="449" y="843"/>
                  </a:lnTo>
                  <a:lnTo>
                    <a:pt x="448" y="838"/>
                  </a:lnTo>
                  <a:lnTo>
                    <a:pt x="448" y="830"/>
                  </a:lnTo>
                  <a:lnTo>
                    <a:pt x="447" y="824"/>
                  </a:lnTo>
                  <a:lnTo>
                    <a:pt x="446" y="819"/>
                  </a:lnTo>
                  <a:lnTo>
                    <a:pt x="444" y="812"/>
                  </a:lnTo>
                  <a:lnTo>
                    <a:pt x="439" y="800"/>
                  </a:lnTo>
                  <a:lnTo>
                    <a:pt x="431" y="790"/>
                  </a:lnTo>
                  <a:lnTo>
                    <a:pt x="423" y="781"/>
                  </a:lnTo>
                  <a:lnTo>
                    <a:pt x="413" y="774"/>
                  </a:lnTo>
                  <a:lnTo>
                    <a:pt x="406" y="770"/>
                  </a:lnTo>
                  <a:lnTo>
                    <a:pt x="401" y="768"/>
                  </a:lnTo>
                  <a:lnTo>
                    <a:pt x="395" y="766"/>
                  </a:lnTo>
                  <a:lnTo>
                    <a:pt x="388" y="764"/>
                  </a:lnTo>
                  <a:lnTo>
                    <a:pt x="389" y="485"/>
                  </a:lnTo>
                  <a:lnTo>
                    <a:pt x="607" y="553"/>
                  </a:lnTo>
                  <a:lnTo>
                    <a:pt x="548" y="774"/>
                  </a:lnTo>
                  <a:lnTo>
                    <a:pt x="539" y="778"/>
                  </a:lnTo>
                  <a:lnTo>
                    <a:pt x="532" y="784"/>
                  </a:lnTo>
                  <a:lnTo>
                    <a:pt x="525" y="792"/>
                  </a:lnTo>
                  <a:lnTo>
                    <a:pt x="519" y="799"/>
                  </a:lnTo>
                  <a:lnTo>
                    <a:pt x="515" y="808"/>
                  </a:lnTo>
                  <a:lnTo>
                    <a:pt x="511" y="818"/>
                  </a:lnTo>
                  <a:lnTo>
                    <a:pt x="509" y="827"/>
                  </a:lnTo>
                  <a:lnTo>
                    <a:pt x="508" y="838"/>
                  </a:lnTo>
                  <a:close/>
                  <a:moveTo>
                    <a:pt x="299" y="838"/>
                  </a:moveTo>
                  <a:lnTo>
                    <a:pt x="298" y="843"/>
                  </a:lnTo>
                  <a:lnTo>
                    <a:pt x="296" y="850"/>
                  </a:lnTo>
                  <a:lnTo>
                    <a:pt x="294" y="854"/>
                  </a:lnTo>
                  <a:lnTo>
                    <a:pt x="290" y="858"/>
                  </a:lnTo>
                  <a:lnTo>
                    <a:pt x="286" y="863"/>
                  </a:lnTo>
                  <a:lnTo>
                    <a:pt x="281" y="865"/>
                  </a:lnTo>
                  <a:lnTo>
                    <a:pt x="275" y="867"/>
                  </a:lnTo>
                  <a:lnTo>
                    <a:pt x="269" y="868"/>
                  </a:lnTo>
                  <a:lnTo>
                    <a:pt x="263" y="867"/>
                  </a:lnTo>
                  <a:lnTo>
                    <a:pt x="258" y="865"/>
                  </a:lnTo>
                  <a:lnTo>
                    <a:pt x="252" y="863"/>
                  </a:lnTo>
                  <a:lnTo>
                    <a:pt x="248" y="858"/>
                  </a:lnTo>
                  <a:lnTo>
                    <a:pt x="244" y="854"/>
                  </a:lnTo>
                  <a:lnTo>
                    <a:pt x="242" y="850"/>
                  </a:lnTo>
                  <a:lnTo>
                    <a:pt x="239" y="843"/>
                  </a:lnTo>
                  <a:lnTo>
                    <a:pt x="239" y="838"/>
                  </a:lnTo>
                  <a:lnTo>
                    <a:pt x="238" y="825"/>
                  </a:lnTo>
                  <a:lnTo>
                    <a:pt x="235" y="814"/>
                  </a:lnTo>
                  <a:lnTo>
                    <a:pt x="231" y="804"/>
                  </a:lnTo>
                  <a:lnTo>
                    <a:pt x="224" y="793"/>
                  </a:lnTo>
                  <a:lnTo>
                    <a:pt x="216" y="784"/>
                  </a:lnTo>
                  <a:lnTo>
                    <a:pt x="207" y="777"/>
                  </a:lnTo>
                  <a:lnTo>
                    <a:pt x="197" y="772"/>
                  </a:lnTo>
                  <a:lnTo>
                    <a:pt x="186" y="767"/>
                  </a:lnTo>
                  <a:lnTo>
                    <a:pt x="133" y="553"/>
                  </a:lnTo>
                  <a:lnTo>
                    <a:pt x="359" y="485"/>
                  </a:lnTo>
                  <a:lnTo>
                    <a:pt x="359" y="764"/>
                  </a:lnTo>
                  <a:lnTo>
                    <a:pt x="353" y="766"/>
                  </a:lnTo>
                  <a:lnTo>
                    <a:pt x="347" y="768"/>
                  </a:lnTo>
                  <a:lnTo>
                    <a:pt x="341" y="770"/>
                  </a:lnTo>
                  <a:lnTo>
                    <a:pt x="335" y="774"/>
                  </a:lnTo>
                  <a:lnTo>
                    <a:pt x="325" y="781"/>
                  </a:lnTo>
                  <a:lnTo>
                    <a:pt x="317" y="790"/>
                  </a:lnTo>
                  <a:lnTo>
                    <a:pt x="309" y="800"/>
                  </a:lnTo>
                  <a:lnTo>
                    <a:pt x="304" y="812"/>
                  </a:lnTo>
                  <a:lnTo>
                    <a:pt x="302" y="819"/>
                  </a:lnTo>
                  <a:lnTo>
                    <a:pt x="301" y="824"/>
                  </a:lnTo>
                  <a:lnTo>
                    <a:pt x="299" y="830"/>
                  </a:lnTo>
                  <a:lnTo>
                    <a:pt x="299" y="838"/>
                  </a:lnTo>
                  <a:close/>
                  <a:moveTo>
                    <a:pt x="359" y="378"/>
                  </a:moveTo>
                  <a:lnTo>
                    <a:pt x="359" y="453"/>
                  </a:lnTo>
                  <a:lnTo>
                    <a:pt x="126" y="524"/>
                  </a:lnTo>
                  <a:lnTo>
                    <a:pt x="106" y="438"/>
                  </a:lnTo>
                  <a:lnTo>
                    <a:pt x="359" y="378"/>
                  </a:lnTo>
                  <a:close/>
                  <a:moveTo>
                    <a:pt x="180" y="253"/>
                  </a:moveTo>
                  <a:lnTo>
                    <a:pt x="181" y="245"/>
                  </a:lnTo>
                  <a:lnTo>
                    <a:pt x="183" y="236"/>
                  </a:lnTo>
                  <a:lnTo>
                    <a:pt x="187" y="229"/>
                  </a:lnTo>
                  <a:lnTo>
                    <a:pt x="192" y="222"/>
                  </a:lnTo>
                  <a:lnTo>
                    <a:pt x="199" y="217"/>
                  </a:lnTo>
                  <a:lnTo>
                    <a:pt x="206" y="213"/>
                  </a:lnTo>
                  <a:lnTo>
                    <a:pt x="215" y="210"/>
                  </a:lnTo>
                  <a:lnTo>
                    <a:pt x="224" y="210"/>
                  </a:lnTo>
                  <a:lnTo>
                    <a:pt x="523" y="210"/>
                  </a:lnTo>
                  <a:lnTo>
                    <a:pt x="533" y="210"/>
                  </a:lnTo>
                  <a:lnTo>
                    <a:pt x="541" y="213"/>
                  </a:lnTo>
                  <a:lnTo>
                    <a:pt x="549" y="217"/>
                  </a:lnTo>
                  <a:lnTo>
                    <a:pt x="555" y="222"/>
                  </a:lnTo>
                  <a:lnTo>
                    <a:pt x="561" y="229"/>
                  </a:lnTo>
                  <a:lnTo>
                    <a:pt x="565" y="236"/>
                  </a:lnTo>
                  <a:lnTo>
                    <a:pt x="567" y="245"/>
                  </a:lnTo>
                  <a:lnTo>
                    <a:pt x="568" y="253"/>
                  </a:lnTo>
                  <a:lnTo>
                    <a:pt x="568" y="390"/>
                  </a:lnTo>
                  <a:lnTo>
                    <a:pt x="374" y="343"/>
                  </a:lnTo>
                  <a:lnTo>
                    <a:pt x="180" y="390"/>
                  </a:lnTo>
                  <a:lnTo>
                    <a:pt x="180" y="253"/>
                  </a:lnTo>
                  <a:close/>
                  <a:moveTo>
                    <a:pt x="329" y="90"/>
                  </a:moveTo>
                  <a:lnTo>
                    <a:pt x="418" y="90"/>
                  </a:lnTo>
                  <a:lnTo>
                    <a:pt x="418" y="180"/>
                  </a:lnTo>
                  <a:lnTo>
                    <a:pt x="329" y="180"/>
                  </a:lnTo>
                  <a:lnTo>
                    <a:pt x="329" y="90"/>
                  </a:lnTo>
                  <a:close/>
                  <a:moveTo>
                    <a:pt x="418" y="30"/>
                  </a:moveTo>
                  <a:lnTo>
                    <a:pt x="418" y="60"/>
                  </a:lnTo>
                  <a:lnTo>
                    <a:pt x="329" y="60"/>
                  </a:lnTo>
                  <a:lnTo>
                    <a:pt x="329" y="30"/>
                  </a:lnTo>
                  <a:lnTo>
                    <a:pt x="418" y="30"/>
                  </a:lnTo>
                  <a:close/>
                  <a:moveTo>
                    <a:pt x="614" y="524"/>
                  </a:moveTo>
                  <a:lnTo>
                    <a:pt x="389" y="453"/>
                  </a:lnTo>
                  <a:lnTo>
                    <a:pt x="389" y="378"/>
                  </a:lnTo>
                  <a:lnTo>
                    <a:pt x="638" y="438"/>
                  </a:lnTo>
                  <a:lnTo>
                    <a:pt x="614" y="524"/>
                  </a:lnTo>
                  <a:close/>
                  <a:moveTo>
                    <a:pt x="733" y="823"/>
                  </a:moveTo>
                  <a:lnTo>
                    <a:pt x="730" y="823"/>
                  </a:lnTo>
                  <a:lnTo>
                    <a:pt x="728" y="824"/>
                  </a:lnTo>
                  <a:lnTo>
                    <a:pt x="724" y="825"/>
                  </a:lnTo>
                  <a:lnTo>
                    <a:pt x="722" y="827"/>
                  </a:lnTo>
                  <a:lnTo>
                    <a:pt x="720" y="829"/>
                  </a:lnTo>
                  <a:lnTo>
                    <a:pt x="719" y="833"/>
                  </a:lnTo>
                  <a:lnTo>
                    <a:pt x="718" y="835"/>
                  </a:lnTo>
                  <a:lnTo>
                    <a:pt x="718" y="838"/>
                  </a:lnTo>
                  <a:lnTo>
                    <a:pt x="718" y="843"/>
                  </a:lnTo>
                  <a:lnTo>
                    <a:pt x="716" y="850"/>
                  </a:lnTo>
                  <a:lnTo>
                    <a:pt x="713" y="854"/>
                  </a:lnTo>
                  <a:lnTo>
                    <a:pt x="709" y="858"/>
                  </a:lnTo>
                  <a:lnTo>
                    <a:pt x="705" y="863"/>
                  </a:lnTo>
                  <a:lnTo>
                    <a:pt x="700" y="865"/>
                  </a:lnTo>
                  <a:lnTo>
                    <a:pt x="694" y="867"/>
                  </a:lnTo>
                  <a:lnTo>
                    <a:pt x="688" y="868"/>
                  </a:lnTo>
                  <a:lnTo>
                    <a:pt x="683" y="867"/>
                  </a:lnTo>
                  <a:lnTo>
                    <a:pt x="676" y="865"/>
                  </a:lnTo>
                  <a:lnTo>
                    <a:pt x="672" y="863"/>
                  </a:lnTo>
                  <a:lnTo>
                    <a:pt x="667" y="858"/>
                  </a:lnTo>
                  <a:lnTo>
                    <a:pt x="663" y="854"/>
                  </a:lnTo>
                  <a:lnTo>
                    <a:pt x="660" y="850"/>
                  </a:lnTo>
                  <a:lnTo>
                    <a:pt x="659" y="843"/>
                  </a:lnTo>
                  <a:lnTo>
                    <a:pt x="658" y="838"/>
                  </a:lnTo>
                  <a:lnTo>
                    <a:pt x="658" y="830"/>
                  </a:lnTo>
                  <a:lnTo>
                    <a:pt x="657" y="823"/>
                  </a:lnTo>
                  <a:lnTo>
                    <a:pt x="655" y="815"/>
                  </a:lnTo>
                  <a:lnTo>
                    <a:pt x="653" y="809"/>
                  </a:lnTo>
                  <a:lnTo>
                    <a:pt x="650" y="803"/>
                  </a:lnTo>
                  <a:lnTo>
                    <a:pt x="645" y="796"/>
                  </a:lnTo>
                  <a:lnTo>
                    <a:pt x="641" y="791"/>
                  </a:lnTo>
                  <a:lnTo>
                    <a:pt x="637" y="785"/>
                  </a:lnTo>
                  <a:lnTo>
                    <a:pt x="631" y="780"/>
                  </a:lnTo>
                  <a:lnTo>
                    <a:pt x="625" y="776"/>
                  </a:lnTo>
                  <a:lnTo>
                    <a:pt x="620" y="772"/>
                  </a:lnTo>
                  <a:lnTo>
                    <a:pt x="612" y="768"/>
                  </a:lnTo>
                  <a:lnTo>
                    <a:pt x="606" y="766"/>
                  </a:lnTo>
                  <a:lnTo>
                    <a:pt x="598" y="764"/>
                  </a:lnTo>
                  <a:lnTo>
                    <a:pt x="591" y="763"/>
                  </a:lnTo>
                  <a:lnTo>
                    <a:pt x="583" y="763"/>
                  </a:lnTo>
                  <a:lnTo>
                    <a:pt x="582" y="764"/>
                  </a:lnTo>
                  <a:lnTo>
                    <a:pt x="581" y="764"/>
                  </a:lnTo>
                  <a:lnTo>
                    <a:pt x="668" y="444"/>
                  </a:lnTo>
                  <a:lnTo>
                    <a:pt x="685" y="448"/>
                  </a:lnTo>
                  <a:lnTo>
                    <a:pt x="687" y="448"/>
                  </a:lnTo>
                  <a:lnTo>
                    <a:pt x="688" y="448"/>
                  </a:lnTo>
                  <a:lnTo>
                    <a:pt x="693" y="447"/>
                  </a:lnTo>
                  <a:lnTo>
                    <a:pt x="698" y="445"/>
                  </a:lnTo>
                  <a:lnTo>
                    <a:pt x="701" y="442"/>
                  </a:lnTo>
                  <a:lnTo>
                    <a:pt x="703" y="438"/>
                  </a:lnTo>
                  <a:lnTo>
                    <a:pt x="703" y="434"/>
                  </a:lnTo>
                  <a:lnTo>
                    <a:pt x="703" y="431"/>
                  </a:lnTo>
                  <a:lnTo>
                    <a:pt x="702" y="429"/>
                  </a:lnTo>
                  <a:lnTo>
                    <a:pt x="701" y="426"/>
                  </a:lnTo>
                  <a:lnTo>
                    <a:pt x="699" y="424"/>
                  </a:lnTo>
                  <a:lnTo>
                    <a:pt x="697" y="423"/>
                  </a:lnTo>
                  <a:lnTo>
                    <a:pt x="694" y="420"/>
                  </a:lnTo>
                  <a:lnTo>
                    <a:pt x="691" y="420"/>
                  </a:lnTo>
                  <a:lnTo>
                    <a:pt x="598" y="398"/>
                  </a:lnTo>
                  <a:lnTo>
                    <a:pt x="598" y="253"/>
                  </a:lnTo>
                  <a:lnTo>
                    <a:pt x="598" y="246"/>
                  </a:lnTo>
                  <a:lnTo>
                    <a:pt x="597" y="240"/>
                  </a:lnTo>
                  <a:lnTo>
                    <a:pt x="595" y="232"/>
                  </a:lnTo>
                  <a:lnTo>
                    <a:pt x="593" y="226"/>
                  </a:lnTo>
                  <a:lnTo>
                    <a:pt x="590" y="219"/>
                  </a:lnTo>
                  <a:lnTo>
                    <a:pt x="585" y="213"/>
                  </a:lnTo>
                  <a:lnTo>
                    <a:pt x="581" y="206"/>
                  </a:lnTo>
                  <a:lnTo>
                    <a:pt x="577" y="201"/>
                  </a:lnTo>
                  <a:lnTo>
                    <a:pt x="571" y="197"/>
                  </a:lnTo>
                  <a:lnTo>
                    <a:pt x="565" y="192"/>
                  </a:lnTo>
                  <a:lnTo>
                    <a:pt x="560" y="188"/>
                  </a:lnTo>
                  <a:lnTo>
                    <a:pt x="553" y="185"/>
                  </a:lnTo>
                  <a:lnTo>
                    <a:pt x="546" y="183"/>
                  </a:lnTo>
                  <a:lnTo>
                    <a:pt x="538" y="181"/>
                  </a:lnTo>
                  <a:lnTo>
                    <a:pt x="531" y="180"/>
                  </a:lnTo>
                  <a:lnTo>
                    <a:pt x="523" y="180"/>
                  </a:lnTo>
                  <a:lnTo>
                    <a:pt x="448" y="180"/>
                  </a:lnTo>
                  <a:lnTo>
                    <a:pt x="448" y="15"/>
                  </a:lnTo>
                  <a:lnTo>
                    <a:pt x="448" y="12"/>
                  </a:lnTo>
                  <a:lnTo>
                    <a:pt x="447" y="9"/>
                  </a:lnTo>
                  <a:lnTo>
                    <a:pt x="446" y="6"/>
                  </a:lnTo>
                  <a:lnTo>
                    <a:pt x="444" y="4"/>
                  </a:lnTo>
                  <a:lnTo>
                    <a:pt x="442" y="2"/>
                  </a:lnTo>
                  <a:lnTo>
                    <a:pt x="440" y="1"/>
                  </a:lnTo>
                  <a:lnTo>
                    <a:pt x="436" y="0"/>
                  </a:lnTo>
                  <a:lnTo>
                    <a:pt x="433" y="0"/>
                  </a:lnTo>
                  <a:lnTo>
                    <a:pt x="314" y="0"/>
                  </a:lnTo>
                  <a:lnTo>
                    <a:pt x="311" y="0"/>
                  </a:lnTo>
                  <a:lnTo>
                    <a:pt x="308" y="1"/>
                  </a:lnTo>
                  <a:lnTo>
                    <a:pt x="306" y="2"/>
                  </a:lnTo>
                  <a:lnTo>
                    <a:pt x="304" y="4"/>
                  </a:lnTo>
                  <a:lnTo>
                    <a:pt x="302" y="6"/>
                  </a:lnTo>
                  <a:lnTo>
                    <a:pt x="301" y="9"/>
                  </a:lnTo>
                  <a:lnTo>
                    <a:pt x="299" y="12"/>
                  </a:lnTo>
                  <a:lnTo>
                    <a:pt x="299" y="15"/>
                  </a:lnTo>
                  <a:lnTo>
                    <a:pt x="299" y="180"/>
                  </a:lnTo>
                  <a:lnTo>
                    <a:pt x="224" y="180"/>
                  </a:lnTo>
                  <a:lnTo>
                    <a:pt x="217" y="180"/>
                  </a:lnTo>
                  <a:lnTo>
                    <a:pt x="209" y="181"/>
                  </a:lnTo>
                  <a:lnTo>
                    <a:pt x="202" y="183"/>
                  </a:lnTo>
                  <a:lnTo>
                    <a:pt x="196" y="185"/>
                  </a:lnTo>
                  <a:lnTo>
                    <a:pt x="188" y="188"/>
                  </a:lnTo>
                  <a:lnTo>
                    <a:pt x="183" y="192"/>
                  </a:lnTo>
                  <a:lnTo>
                    <a:pt x="176" y="197"/>
                  </a:lnTo>
                  <a:lnTo>
                    <a:pt x="171" y="201"/>
                  </a:lnTo>
                  <a:lnTo>
                    <a:pt x="167" y="206"/>
                  </a:lnTo>
                  <a:lnTo>
                    <a:pt x="162" y="213"/>
                  </a:lnTo>
                  <a:lnTo>
                    <a:pt x="158" y="219"/>
                  </a:lnTo>
                  <a:lnTo>
                    <a:pt x="155" y="226"/>
                  </a:lnTo>
                  <a:lnTo>
                    <a:pt x="153" y="232"/>
                  </a:lnTo>
                  <a:lnTo>
                    <a:pt x="151" y="240"/>
                  </a:lnTo>
                  <a:lnTo>
                    <a:pt x="150" y="246"/>
                  </a:lnTo>
                  <a:lnTo>
                    <a:pt x="150" y="253"/>
                  </a:lnTo>
                  <a:lnTo>
                    <a:pt x="150" y="398"/>
                  </a:lnTo>
                  <a:lnTo>
                    <a:pt x="56" y="420"/>
                  </a:lnTo>
                  <a:lnTo>
                    <a:pt x="53" y="420"/>
                  </a:lnTo>
                  <a:lnTo>
                    <a:pt x="51" y="423"/>
                  </a:lnTo>
                  <a:lnTo>
                    <a:pt x="49" y="424"/>
                  </a:lnTo>
                  <a:lnTo>
                    <a:pt x="47" y="426"/>
                  </a:lnTo>
                  <a:lnTo>
                    <a:pt x="46" y="429"/>
                  </a:lnTo>
                  <a:lnTo>
                    <a:pt x="45" y="431"/>
                  </a:lnTo>
                  <a:lnTo>
                    <a:pt x="45" y="434"/>
                  </a:lnTo>
                  <a:lnTo>
                    <a:pt x="45" y="438"/>
                  </a:lnTo>
                  <a:lnTo>
                    <a:pt x="46" y="441"/>
                  </a:lnTo>
                  <a:lnTo>
                    <a:pt x="48" y="443"/>
                  </a:lnTo>
                  <a:lnTo>
                    <a:pt x="50" y="445"/>
                  </a:lnTo>
                  <a:lnTo>
                    <a:pt x="52" y="446"/>
                  </a:lnTo>
                  <a:lnTo>
                    <a:pt x="57" y="448"/>
                  </a:lnTo>
                  <a:lnTo>
                    <a:pt x="63" y="448"/>
                  </a:lnTo>
                  <a:lnTo>
                    <a:pt x="76" y="445"/>
                  </a:lnTo>
                  <a:lnTo>
                    <a:pt x="155" y="764"/>
                  </a:lnTo>
                  <a:lnTo>
                    <a:pt x="147" y="765"/>
                  </a:lnTo>
                  <a:lnTo>
                    <a:pt x="141" y="767"/>
                  </a:lnTo>
                  <a:lnTo>
                    <a:pt x="135" y="769"/>
                  </a:lnTo>
                  <a:lnTo>
                    <a:pt x="129" y="773"/>
                  </a:lnTo>
                  <a:lnTo>
                    <a:pt x="123" y="776"/>
                  </a:lnTo>
                  <a:lnTo>
                    <a:pt x="117" y="780"/>
                  </a:lnTo>
                  <a:lnTo>
                    <a:pt x="113" y="784"/>
                  </a:lnTo>
                  <a:lnTo>
                    <a:pt x="108" y="789"/>
                  </a:lnTo>
                  <a:lnTo>
                    <a:pt x="105" y="794"/>
                  </a:lnTo>
                  <a:lnTo>
                    <a:pt x="100" y="799"/>
                  </a:lnTo>
                  <a:lnTo>
                    <a:pt x="97" y="805"/>
                  </a:lnTo>
                  <a:lnTo>
                    <a:pt x="95" y="811"/>
                  </a:lnTo>
                  <a:lnTo>
                    <a:pt x="93" y="818"/>
                  </a:lnTo>
                  <a:lnTo>
                    <a:pt x="91" y="824"/>
                  </a:lnTo>
                  <a:lnTo>
                    <a:pt x="90" y="830"/>
                  </a:lnTo>
                  <a:lnTo>
                    <a:pt x="90" y="838"/>
                  </a:lnTo>
                  <a:lnTo>
                    <a:pt x="89" y="843"/>
                  </a:lnTo>
                  <a:lnTo>
                    <a:pt x="87" y="850"/>
                  </a:lnTo>
                  <a:lnTo>
                    <a:pt x="84" y="854"/>
                  </a:lnTo>
                  <a:lnTo>
                    <a:pt x="81" y="858"/>
                  </a:lnTo>
                  <a:lnTo>
                    <a:pt x="77" y="863"/>
                  </a:lnTo>
                  <a:lnTo>
                    <a:pt x="71" y="865"/>
                  </a:lnTo>
                  <a:lnTo>
                    <a:pt x="66" y="867"/>
                  </a:lnTo>
                  <a:lnTo>
                    <a:pt x="60" y="868"/>
                  </a:lnTo>
                  <a:lnTo>
                    <a:pt x="53" y="867"/>
                  </a:lnTo>
                  <a:lnTo>
                    <a:pt x="48" y="865"/>
                  </a:lnTo>
                  <a:lnTo>
                    <a:pt x="42" y="863"/>
                  </a:lnTo>
                  <a:lnTo>
                    <a:pt x="38" y="858"/>
                  </a:lnTo>
                  <a:lnTo>
                    <a:pt x="35" y="854"/>
                  </a:lnTo>
                  <a:lnTo>
                    <a:pt x="32" y="850"/>
                  </a:lnTo>
                  <a:lnTo>
                    <a:pt x="31" y="843"/>
                  </a:lnTo>
                  <a:lnTo>
                    <a:pt x="30" y="838"/>
                  </a:lnTo>
                  <a:lnTo>
                    <a:pt x="30" y="835"/>
                  </a:lnTo>
                  <a:lnTo>
                    <a:pt x="29" y="833"/>
                  </a:lnTo>
                  <a:lnTo>
                    <a:pt x="27" y="829"/>
                  </a:lnTo>
                  <a:lnTo>
                    <a:pt x="25" y="827"/>
                  </a:lnTo>
                  <a:lnTo>
                    <a:pt x="23" y="825"/>
                  </a:lnTo>
                  <a:lnTo>
                    <a:pt x="20" y="824"/>
                  </a:lnTo>
                  <a:lnTo>
                    <a:pt x="18" y="823"/>
                  </a:lnTo>
                  <a:lnTo>
                    <a:pt x="15" y="823"/>
                  </a:lnTo>
                  <a:lnTo>
                    <a:pt x="11" y="823"/>
                  </a:lnTo>
                  <a:lnTo>
                    <a:pt x="9" y="824"/>
                  </a:lnTo>
                  <a:lnTo>
                    <a:pt x="6" y="825"/>
                  </a:lnTo>
                  <a:lnTo>
                    <a:pt x="4" y="827"/>
                  </a:lnTo>
                  <a:lnTo>
                    <a:pt x="2" y="829"/>
                  </a:lnTo>
                  <a:lnTo>
                    <a:pt x="1" y="833"/>
                  </a:lnTo>
                  <a:lnTo>
                    <a:pt x="0" y="835"/>
                  </a:lnTo>
                  <a:lnTo>
                    <a:pt x="0" y="838"/>
                  </a:lnTo>
                  <a:lnTo>
                    <a:pt x="0" y="843"/>
                  </a:lnTo>
                  <a:lnTo>
                    <a:pt x="1" y="850"/>
                  </a:lnTo>
                  <a:lnTo>
                    <a:pt x="3" y="855"/>
                  </a:lnTo>
                  <a:lnTo>
                    <a:pt x="4" y="860"/>
                  </a:lnTo>
                  <a:lnTo>
                    <a:pt x="7" y="866"/>
                  </a:lnTo>
                  <a:lnTo>
                    <a:pt x="10" y="871"/>
                  </a:lnTo>
                  <a:lnTo>
                    <a:pt x="14" y="875"/>
                  </a:lnTo>
                  <a:lnTo>
                    <a:pt x="17" y="880"/>
                  </a:lnTo>
                  <a:lnTo>
                    <a:pt x="21" y="884"/>
                  </a:lnTo>
                  <a:lnTo>
                    <a:pt x="26" y="887"/>
                  </a:lnTo>
                  <a:lnTo>
                    <a:pt x="31" y="890"/>
                  </a:lnTo>
                  <a:lnTo>
                    <a:pt x="36" y="893"/>
                  </a:lnTo>
                  <a:lnTo>
                    <a:pt x="41" y="895"/>
                  </a:lnTo>
                  <a:lnTo>
                    <a:pt x="48" y="896"/>
                  </a:lnTo>
                  <a:lnTo>
                    <a:pt x="53" y="897"/>
                  </a:lnTo>
                  <a:lnTo>
                    <a:pt x="60" y="898"/>
                  </a:lnTo>
                  <a:lnTo>
                    <a:pt x="66" y="897"/>
                  </a:lnTo>
                  <a:lnTo>
                    <a:pt x="71" y="896"/>
                  </a:lnTo>
                  <a:lnTo>
                    <a:pt x="78" y="895"/>
                  </a:lnTo>
                  <a:lnTo>
                    <a:pt x="83" y="893"/>
                  </a:lnTo>
                  <a:lnTo>
                    <a:pt x="89" y="890"/>
                  </a:lnTo>
                  <a:lnTo>
                    <a:pt x="93" y="887"/>
                  </a:lnTo>
                  <a:lnTo>
                    <a:pt x="98" y="884"/>
                  </a:lnTo>
                  <a:lnTo>
                    <a:pt x="101" y="880"/>
                  </a:lnTo>
                  <a:lnTo>
                    <a:pt x="106" y="875"/>
                  </a:lnTo>
                  <a:lnTo>
                    <a:pt x="109" y="871"/>
                  </a:lnTo>
                  <a:lnTo>
                    <a:pt x="112" y="866"/>
                  </a:lnTo>
                  <a:lnTo>
                    <a:pt x="114" y="860"/>
                  </a:lnTo>
                  <a:lnTo>
                    <a:pt x="116" y="855"/>
                  </a:lnTo>
                  <a:lnTo>
                    <a:pt x="118" y="850"/>
                  </a:lnTo>
                  <a:lnTo>
                    <a:pt x="120" y="843"/>
                  </a:lnTo>
                  <a:lnTo>
                    <a:pt x="120" y="838"/>
                  </a:lnTo>
                  <a:lnTo>
                    <a:pt x="121" y="828"/>
                  </a:lnTo>
                  <a:lnTo>
                    <a:pt x="123" y="821"/>
                  </a:lnTo>
                  <a:lnTo>
                    <a:pt x="127" y="813"/>
                  </a:lnTo>
                  <a:lnTo>
                    <a:pt x="132" y="806"/>
                  </a:lnTo>
                  <a:lnTo>
                    <a:pt x="139" y="800"/>
                  </a:lnTo>
                  <a:lnTo>
                    <a:pt x="147" y="796"/>
                  </a:lnTo>
                  <a:lnTo>
                    <a:pt x="155" y="794"/>
                  </a:lnTo>
                  <a:lnTo>
                    <a:pt x="165" y="793"/>
                  </a:lnTo>
                  <a:lnTo>
                    <a:pt x="173" y="794"/>
                  </a:lnTo>
                  <a:lnTo>
                    <a:pt x="182" y="796"/>
                  </a:lnTo>
                  <a:lnTo>
                    <a:pt x="189" y="800"/>
                  </a:lnTo>
                  <a:lnTo>
                    <a:pt x="196" y="806"/>
                  </a:lnTo>
                  <a:lnTo>
                    <a:pt x="202" y="813"/>
                  </a:lnTo>
                  <a:lnTo>
                    <a:pt x="205" y="821"/>
                  </a:lnTo>
                  <a:lnTo>
                    <a:pt x="208" y="828"/>
                  </a:lnTo>
                  <a:lnTo>
                    <a:pt x="209" y="838"/>
                  </a:lnTo>
                  <a:lnTo>
                    <a:pt x="209" y="843"/>
                  </a:lnTo>
                  <a:lnTo>
                    <a:pt x="211" y="850"/>
                  </a:lnTo>
                  <a:lnTo>
                    <a:pt x="212" y="855"/>
                  </a:lnTo>
                  <a:lnTo>
                    <a:pt x="214" y="860"/>
                  </a:lnTo>
                  <a:lnTo>
                    <a:pt x="216" y="866"/>
                  </a:lnTo>
                  <a:lnTo>
                    <a:pt x="219" y="871"/>
                  </a:lnTo>
                  <a:lnTo>
                    <a:pt x="222" y="875"/>
                  </a:lnTo>
                  <a:lnTo>
                    <a:pt x="227" y="880"/>
                  </a:lnTo>
                  <a:lnTo>
                    <a:pt x="231" y="884"/>
                  </a:lnTo>
                  <a:lnTo>
                    <a:pt x="235" y="887"/>
                  </a:lnTo>
                  <a:lnTo>
                    <a:pt x="241" y="890"/>
                  </a:lnTo>
                  <a:lnTo>
                    <a:pt x="246" y="893"/>
                  </a:lnTo>
                  <a:lnTo>
                    <a:pt x="251" y="895"/>
                  </a:lnTo>
                  <a:lnTo>
                    <a:pt x="257" y="896"/>
                  </a:lnTo>
                  <a:lnTo>
                    <a:pt x="263" y="897"/>
                  </a:lnTo>
                  <a:lnTo>
                    <a:pt x="269" y="898"/>
                  </a:lnTo>
                  <a:lnTo>
                    <a:pt x="275" y="897"/>
                  </a:lnTo>
                  <a:lnTo>
                    <a:pt x="281" y="896"/>
                  </a:lnTo>
                  <a:lnTo>
                    <a:pt x="287" y="895"/>
                  </a:lnTo>
                  <a:lnTo>
                    <a:pt x="292" y="893"/>
                  </a:lnTo>
                  <a:lnTo>
                    <a:pt x="297" y="890"/>
                  </a:lnTo>
                  <a:lnTo>
                    <a:pt x="303" y="887"/>
                  </a:lnTo>
                  <a:lnTo>
                    <a:pt x="307" y="884"/>
                  </a:lnTo>
                  <a:lnTo>
                    <a:pt x="311" y="880"/>
                  </a:lnTo>
                  <a:lnTo>
                    <a:pt x="315" y="875"/>
                  </a:lnTo>
                  <a:lnTo>
                    <a:pt x="319" y="871"/>
                  </a:lnTo>
                  <a:lnTo>
                    <a:pt x="322" y="866"/>
                  </a:lnTo>
                  <a:lnTo>
                    <a:pt x="324" y="860"/>
                  </a:lnTo>
                  <a:lnTo>
                    <a:pt x="326" y="855"/>
                  </a:lnTo>
                  <a:lnTo>
                    <a:pt x="327" y="850"/>
                  </a:lnTo>
                  <a:lnTo>
                    <a:pt x="328" y="843"/>
                  </a:lnTo>
                  <a:lnTo>
                    <a:pt x="329" y="838"/>
                  </a:lnTo>
                  <a:lnTo>
                    <a:pt x="329" y="828"/>
                  </a:lnTo>
                  <a:lnTo>
                    <a:pt x="333" y="821"/>
                  </a:lnTo>
                  <a:lnTo>
                    <a:pt x="337" y="813"/>
                  </a:lnTo>
                  <a:lnTo>
                    <a:pt x="342" y="806"/>
                  </a:lnTo>
                  <a:lnTo>
                    <a:pt x="349" y="800"/>
                  </a:lnTo>
                  <a:lnTo>
                    <a:pt x="356" y="796"/>
                  </a:lnTo>
                  <a:lnTo>
                    <a:pt x="365" y="794"/>
                  </a:lnTo>
                  <a:lnTo>
                    <a:pt x="374" y="793"/>
                  </a:lnTo>
                  <a:lnTo>
                    <a:pt x="383" y="794"/>
                  </a:lnTo>
                  <a:lnTo>
                    <a:pt x="392" y="796"/>
                  </a:lnTo>
                  <a:lnTo>
                    <a:pt x="399" y="800"/>
                  </a:lnTo>
                  <a:lnTo>
                    <a:pt x="405" y="806"/>
                  </a:lnTo>
                  <a:lnTo>
                    <a:pt x="411" y="813"/>
                  </a:lnTo>
                  <a:lnTo>
                    <a:pt x="415" y="821"/>
                  </a:lnTo>
                  <a:lnTo>
                    <a:pt x="418" y="828"/>
                  </a:lnTo>
                  <a:lnTo>
                    <a:pt x="418" y="838"/>
                  </a:lnTo>
                  <a:lnTo>
                    <a:pt x="419" y="843"/>
                  </a:lnTo>
                  <a:lnTo>
                    <a:pt x="420" y="850"/>
                  </a:lnTo>
                  <a:lnTo>
                    <a:pt x="421" y="855"/>
                  </a:lnTo>
                  <a:lnTo>
                    <a:pt x="424" y="860"/>
                  </a:lnTo>
                  <a:lnTo>
                    <a:pt x="426" y="866"/>
                  </a:lnTo>
                  <a:lnTo>
                    <a:pt x="429" y="871"/>
                  </a:lnTo>
                  <a:lnTo>
                    <a:pt x="432" y="875"/>
                  </a:lnTo>
                  <a:lnTo>
                    <a:pt x="436" y="880"/>
                  </a:lnTo>
                  <a:lnTo>
                    <a:pt x="441" y="884"/>
                  </a:lnTo>
                  <a:lnTo>
                    <a:pt x="445" y="887"/>
                  </a:lnTo>
                  <a:lnTo>
                    <a:pt x="450" y="890"/>
                  </a:lnTo>
                  <a:lnTo>
                    <a:pt x="456" y="893"/>
                  </a:lnTo>
                  <a:lnTo>
                    <a:pt x="461" y="895"/>
                  </a:lnTo>
                  <a:lnTo>
                    <a:pt x="466" y="896"/>
                  </a:lnTo>
                  <a:lnTo>
                    <a:pt x="473" y="897"/>
                  </a:lnTo>
                  <a:lnTo>
                    <a:pt x="478" y="898"/>
                  </a:lnTo>
                  <a:lnTo>
                    <a:pt x="485" y="897"/>
                  </a:lnTo>
                  <a:lnTo>
                    <a:pt x="491" y="896"/>
                  </a:lnTo>
                  <a:lnTo>
                    <a:pt x="496" y="895"/>
                  </a:lnTo>
                  <a:lnTo>
                    <a:pt x="502" y="893"/>
                  </a:lnTo>
                  <a:lnTo>
                    <a:pt x="507" y="890"/>
                  </a:lnTo>
                  <a:lnTo>
                    <a:pt x="512" y="887"/>
                  </a:lnTo>
                  <a:lnTo>
                    <a:pt x="517" y="884"/>
                  </a:lnTo>
                  <a:lnTo>
                    <a:pt x="521" y="880"/>
                  </a:lnTo>
                  <a:lnTo>
                    <a:pt x="525" y="875"/>
                  </a:lnTo>
                  <a:lnTo>
                    <a:pt x="529" y="871"/>
                  </a:lnTo>
                  <a:lnTo>
                    <a:pt x="532" y="866"/>
                  </a:lnTo>
                  <a:lnTo>
                    <a:pt x="534" y="860"/>
                  </a:lnTo>
                  <a:lnTo>
                    <a:pt x="536" y="855"/>
                  </a:lnTo>
                  <a:lnTo>
                    <a:pt x="537" y="850"/>
                  </a:lnTo>
                  <a:lnTo>
                    <a:pt x="538" y="843"/>
                  </a:lnTo>
                  <a:lnTo>
                    <a:pt x="538" y="838"/>
                  </a:lnTo>
                  <a:lnTo>
                    <a:pt x="539" y="828"/>
                  </a:lnTo>
                  <a:lnTo>
                    <a:pt x="542" y="821"/>
                  </a:lnTo>
                  <a:lnTo>
                    <a:pt x="546" y="813"/>
                  </a:lnTo>
                  <a:lnTo>
                    <a:pt x="552" y="806"/>
                  </a:lnTo>
                  <a:lnTo>
                    <a:pt x="559" y="800"/>
                  </a:lnTo>
                  <a:lnTo>
                    <a:pt x="566" y="796"/>
                  </a:lnTo>
                  <a:lnTo>
                    <a:pt x="575" y="794"/>
                  </a:lnTo>
                  <a:lnTo>
                    <a:pt x="583" y="793"/>
                  </a:lnTo>
                  <a:lnTo>
                    <a:pt x="593" y="794"/>
                  </a:lnTo>
                  <a:lnTo>
                    <a:pt x="601" y="796"/>
                  </a:lnTo>
                  <a:lnTo>
                    <a:pt x="609" y="800"/>
                  </a:lnTo>
                  <a:lnTo>
                    <a:pt x="615" y="806"/>
                  </a:lnTo>
                  <a:lnTo>
                    <a:pt x="621" y="813"/>
                  </a:lnTo>
                  <a:lnTo>
                    <a:pt x="625" y="821"/>
                  </a:lnTo>
                  <a:lnTo>
                    <a:pt x="627" y="828"/>
                  </a:lnTo>
                  <a:lnTo>
                    <a:pt x="628" y="838"/>
                  </a:lnTo>
                  <a:lnTo>
                    <a:pt x="628" y="843"/>
                  </a:lnTo>
                  <a:lnTo>
                    <a:pt x="629" y="850"/>
                  </a:lnTo>
                  <a:lnTo>
                    <a:pt x="631" y="855"/>
                  </a:lnTo>
                  <a:lnTo>
                    <a:pt x="633" y="860"/>
                  </a:lnTo>
                  <a:lnTo>
                    <a:pt x="636" y="866"/>
                  </a:lnTo>
                  <a:lnTo>
                    <a:pt x="639" y="871"/>
                  </a:lnTo>
                  <a:lnTo>
                    <a:pt x="642" y="875"/>
                  </a:lnTo>
                  <a:lnTo>
                    <a:pt x="646" y="880"/>
                  </a:lnTo>
                  <a:lnTo>
                    <a:pt x="651" y="884"/>
                  </a:lnTo>
                  <a:lnTo>
                    <a:pt x="655" y="887"/>
                  </a:lnTo>
                  <a:lnTo>
                    <a:pt x="659" y="890"/>
                  </a:lnTo>
                  <a:lnTo>
                    <a:pt x="665" y="893"/>
                  </a:lnTo>
                  <a:lnTo>
                    <a:pt x="670" y="895"/>
                  </a:lnTo>
                  <a:lnTo>
                    <a:pt x="676" y="896"/>
                  </a:lnTo>
                  <a:lnTo>
                    <a:pt x="682" y="897"/>
                  </a:lnTo>
                  <a:lnTo>
                    <a:pt x="688" y="898"/>
                  </a:lnTo>
                  <a:lnTo>
                    <a:pt x="694" y="897"/>
                  </a:lnTo>
                  <a:lnTo>
                    <a:pt x="700" y="896"/>
                  </a:lnTo>
                  <a:lnTo>
                    <a:pt x="706" y="895"/>
                  </a:lnTo>
                  <a:lnTo>
                    <a:pt x="712" y="893"/>
                  </a:lnTo>
                  <a:lnTo>
                    <a:pt x="717" y="890"/>
                  </a:lnTo>
                  <a:lnTo>
                    <a:pt x="721" y="887"/>
                  </a:lnTo>
                  <a:lnTo>
                    <a:pt x="727" y="884"/>
                  </a:lnTo>
                  <a:lnTo>
                    <a:pt x="731" y="880"/>
                  </a:lnTo>
                  <a:lnTo>
                    <a:pt x="734" y="875"/>
                  </a:lnTo>
                  <a:lnTo>
                    <a:pt x="737" y="871"/>
                  </a:lnTo>
                  <a:lnTo>
                    <a:pt x="741" y="866"/>
                  </a:lnTo>
                  <a:lnTo>
                    <a:pt x="744" y="860"/>
                  </a:lnTo>
                  <a:lnTo>
                    <a:pt x="746" y="855"/>
                  </a:lnTo>
                  <a:lnTo>
                    <a:pt x="747" y="850"/>
                  </a:lnTo>
                  <a:lnTo>
                    <a:pt x="748" y="843"/>
                  </a:lnTo>
                  <a:lnTo>
                    <a:pt x="748" y="838"/>
                  </a:lnTo>
                  <a:lnTo>
                    <a:pt x="748" y="835"/>
                  </a:lnTo>
                  <a:lnTo>
                    <a:pt x="747" y="833"/>
                  </a:lnTo>
                  <a:lnTo>
                    <a:pt x="746" y="829"/>
                  </a:lnTo>
                  <a:lnTo>
                    <a:pt x="744" y="827"/>
                  </a:lnTo>
                  <a:lnTo>
                    <a:pt x="742" y="825"/>
                  </a:lnTo>
                  <a:lnTo>
                    <a:pt x="738" y="824"/>
                  </a:lnTo>
                  <a:lnTo>
                    <a:pt x="736" y="823"/>
                  </a:lnTo>
                  <a:lnTo>
                    <a:pt x="733" y="8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7393312" y="3256986"/>
            <a:ext cx="2062289" cy="1115418"/>
            <a:chOff x="6751609" y="3411964"/>
            <a:chExt cx="1051018" cy="1058385"/>
          </a:xfrm>
        </p:grpSpPr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6751609" y="3411964"/>
              <a:ext cx="1051018" cy="1058385"/>
            </a:xfrm>
            <a:custGeom>
              <a:avLst/>
              <a:gdLst>
                <a:gd name="T0" fmla="*/ 66 w 141"/>
                <a:gd name="T1" fmla="*/ 135 h 142"/>
                <a:gd name="T2" fmla="*/ 54 w 141"/>
                <a:gd name="T3" fmla="*/ 140 h 142"/>
                <a:gd name="T4" fmla="*/ 49 w 141"/>
                <a:gd name="T5" fmla="*/ 132 h 142"/>
                <a:gd name="T6" fmla="*/ 42 w 141"/>
                <a:gd name="T7" fmla="*/ 129 h 142"/>
                <a:gd name="T8" fmla="*/ 29 w 141"/>
                <a:gd name="T9" fmla="*/ 128 h 142"/>
                <a:gd name="T10" fmla="*/ 28 w 141"/>
                <a:gd name="T11" fmla="*/ 119 h 142"/>
                <a:gd name="T12" fmla="*/ 22 w 141"/>
                <a:gd name="T13" fmla="*/ 114 h 142"/>
                <a:gd name="T14" fmla="*/ 10 w 141"/>
                <a:gd name="T15" fmla="*/ 108 h 142"/>
                <a:gd name="T16" fmla="*/ 12 w 141"/>
                <a:gd name="T17" fmla="*/ 99 h 142"/>
                <a:gd name="T18" fmla="*/ 10 w 141"/>
                <a:gd name="T19" fmla="*/ 92 h 142"/>
                <a:gd name="T20" fmla="*/ 1 w 141"/>
                <a:gd name="T21" fmla="*/ 82 h 142"/>
                <a:gd name="T22" fmla="*/ 6 w 141"/>
                <a:gd name="T23" fmla="*/ 75 h 142"/>
                <a:gd name="T24" fmla="*/ 6 w 141"/>
                <a:gd name="T25" fmla="*/ 67 h 142"/>
                <a:gd name="T26" fmla="*/ 1 w 141"/>
                <a:gd name="T27" fmla="*/ 60 h 142"/>
                <a:gd name="T28" fmla="*/ 10 w 141"/>
                <a:gd name="T29" fmla="*/ 50 h 142"/>
                <a:gd name="T30" fmla="*/ 12 w 141"/>
                <a:gd name="T31" fmla="*/ 43 h 142"/>
                <a:gd name="T32" fmla="*/ 10 w 141"/>
                <a:gd name="T33" fmla="*/ 34 h 142"/>
                <a:gd name="T34" fmla="*/ 22 w 141"/>
                <a:gd name="T35" fmla="*/ 29 h 142"/>
                <a:gd name="T36" fmla="*/ 28 w 141"/>
                <a:gd name="T37" fmla="*/ 23 h 142"/>
                <a:gd name="T38" fmla="*/ 29 w 141"/>
                <a:gd name="T39" fmla="*/ 14 h 142"/>
                <a:gd name="T40" fmla="*/ 42 w 141"/>
                <a:gd name="T41" fmla="*/ 13 h 142"/>
                <a:gd name="T42" fmla="*/ 49 w 141"/>
                <a:gd name="T43" fmla="*/ 10 h 142"/>
                <a:gd name="T44" fmla="*/ 54 w 141"/>
                <a:gd name="T45" fmla="*/ 2 h 142"/>
                <a:gd name="T46" fmla="*/ 66 w 141"/>
                <a:gd name="T47" fmla="*/ 7 h 142"/>
                <a:gd name="T48" fmla="*/ 73 w 141"/>
                <a:gd name="T49" fmla="*/ 0 h 142"/>
                <a:gd name="T50" fmla="*/ 79 w 141"/>
                <a:gd name="T51" fmla="*/ 7 h 142"/>
                <a:gd name="T52" fmla="*/ 87 w 141"/>
                <a:gd name="T53" fmla="*/ 9 h 142"/>
                <a:gd name="T54" fmla="*/ 100 w 141"/>
                <a:gd name="T55" fmla="*/ 7 h 142"/>
                <a:gd name="T56" fmla="*/ 103 w 141"/>
                <a:gd name="T57" fmla="*/ 16 h 142"/>
                <a:gd name="T58" fmla="*/ 109 w 141"/>
                <a:gd name="T59" fmla="*/ 20 h 142"/>
                <a:gd name="T60" fmla="*/ 122 w 141"/>
                <a:gd name="T61" fmla="*/ 23 h 142"/>
                <a:gd name="T62" fmla="*/ 122 w 141"/>
                <a:gd name="T63" fmla="*/ 32 h 142"/>
                <a:gd name="T64" fmla="*/ 126 w 141"/>
                <a:gd name="T65" fmla="*/ 39 h 142"/>
                <a:gd name="T66" fmla="*/ 137 w 141"/>
                <a:gd name="T67" fmla="*/ 47 h 142"/>
                <a:gd name="T68" fmla="*/ 133 w 141"/>
                <a:gd name="T69" fmla="*/ 55 h 142"/>
                <a:gd name="T70" fmla="*/ 134 w 141"/>
                <a:gd name="T71" fmla="*/ 62 h 142"/>
                <a:gd name="T72" fmla="*/ 141 w 141"/>
                <a:gd name="T73" fmla="*/ 71 h 142"/>
                <a:gd name="T74" fmla="*/ 134 w 141"/>
                <a:gd name="T75" fmla="*/ 80 h 142"/>
                <a:gd name="T76" fmla="*/ 133 w 141"/>
                <a:gd name="T77" fmla="*/ 87 h 142"/>
                <a:gd name="T78" fmla="*/ 137 w 141"/>
                <a:gd name="T79" fmla="*/ 95 h 142"/>
                <a:gd name="T80" fmla="*/ 126 w 141"/>
                <a:gd name="T81" fmla="*/ 103 h 142"/>
                <a:gd name="T82" fmla="*/ 122 w 141"/>
                <a:gd name="T83" fmla="*/ 110 h 142"/>
                <a:gd name="T84" fmla="*/ 122 w 141"/>
                <a:gd name="T85" fmla="*/ 119 h 142"/>
                <a:gd name="T86" fmla="*/ 109 w 141"/>
                <a:gd name="T87" fmla="*/ 122 h 142"/>
                <a:gd name="T88" fmla="*/ 103 w 141"/>
                <a:gd name="T89" fmla="*/ 126 h 142"/>
                <a:gd name="T90" fmla="*/ 100 w 141"/>
                <a:gd name="T91" fmla="*/ 135 h 142"/>
                <a:gd name="T92" fmla="*/ 87 w 141"/>
                <a:gd name="T93" fmla="*/ 133 h 142"/>
                <a:gd name="T94" fmla="*/ 79 w 141"/>
                <a:gd name="T95" fmla="*/ 135 h 142"/>
                <a:gd name="T96" fmla="*/ 73 w 141"/>
                <a:gd name="T9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1" h="142">
                  <a:moveTo>
                    <a:pt x="70" y="142"/>
                  </a:moveTo>
                  <a:cubicBezTo>
                    <a:pt x="69" y="142"/>
                    <a:pt x="68" y="142"/>
                    <a:pt x="67" y="142"/>
                  </a:cubicBezTo>
                  <a:cubicBezTo>
                    <a:pt x="67" y="135"/>
                    <a:pt x="67" y="135"/>
                    <a:pt x="67" y="135"/>
                  </a:cubicBezTo>
                  <a:cubicBezTo>
                    <a:pt x="66" y="135"/>
                    <a:pt x="66" y="135"/>
                    <a:pt x="66" y="135"/>
                  </a:cubicBezTo>
                  <a:cubicBezTo>
                    <a:pt x="65" y="135"/>
                    <a:pt x="63" y="135"/>
                    <a:pt x="62" y="135"/>
                  </a:cubicBezTo>
                  <a:cubicBezTo>
                    <a:pt x="61" y="135"/>
                    <a:pt x="61" y="135"/>
                    <a:pt x="61" y="135"/>
                  </a:cubicBezTo>
                  <a:cubicBezTo>
                    <a:pt x="60" y="141"/>
                    <a:pt x="60" y="141"/>
                    <a:pt x="60" y="141"/>
                  </a:cubicBezTo>
                  <a:cubicBezTo>
                    <a:pt x="58" y="141"/>
                    <a:pt x="56" y="140"/>
                    <a:pt x="54" y="140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2" y="133"/>
                    <a:pt x="51" y="132"/>
                    <a:pt x="50" y="132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46" y="137"/>
                    <a:pt x="46" y="137"/>
                    <a:pt x="46" y="137"/>
                  </a:cubicBezTo>
                  <a:cubicBezTo>
                    <a:pt x="44" y="137"/>
                    <a:pt x="42" y="136"/>
                    <a:pt x="41" y="135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1" y="128"/>
                    <a:pt x="39" y="127"/>
                    <a:pt x="38" y="127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32" y="130"/>
                    <a:pt x="30" y="129"/>
                    <a:pt x="29" y="128"/>
                  </a:cubicBezTo>
                  <a:cubicBezTo>
                    <a:pt x="32" y="122"/>
                    <a:pt x="32" y="122"/>
                    <a:pt x="32" y="122"/>
                  </a:cubicBezTo>
                  <a:cubicBezTo>
                    <a:pt x="31" y="122"/>
                    <a:pt x="31" y="122"/>
                    <a:pt x="31" y="122"/>
                  </a:cubicBezTo>
                  <a:cubicBezTo>
                    <a:pt x="30" y="121"/>
                    <a:pt x="29" y="120"/>
                    <a:pt x="28" y="119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1" y="122"/>
                    <a:pt x="20" y="120"/>
                    <a:pt x="18" y="119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1" y="112"/>
                    <a:pt x="20" y="111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2" y="111"/>
                    <a:pt x="11" y="109"/>
                    <a:pt x="10" y="108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4" y="102"/>
                    <a:pt x="13" y="101"/>
                    <a:pt x="13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5" y="99"/>
                    <a:pt x="5" y="97"/>
                    <a:pt x="4" y="95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9" y="90"/>
                    <a:pt x="9" y="89"/>
                    <a:pt x="8" y="88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1" y="86"/>
                    <a:pt x="1" y="84"/>
                    <a:pt x="1" y="82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78"/>
                    <a:pt x="6" y="77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3"/>
                    <a:pt x="0" y="72"/>
                    <a:pt x="0" y="71"/>
                  </a:cubicBezTo>
                  <a:cubicBezTo>
                    <a:pt x="0" y="70"/>
                    <a:pt x="0" y="69"/>
                    <a:pt x="0" y="68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65"/>
                    <a:pt x="6" y="64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58"/>
                    <a:pt x="1" y="56"/>
                    <a:pt x="2" y="54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9" y="53"/>
                    <a:pt x="9" y="52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5"/>
                    <a:pt x="5" y="43"/>
                    <a:pt x="6" y="41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1"/>
                    <a:pt x="14" y="40"/>
                    <a:pt x="15" y="39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3"/>
                    <a:pt x="12" y="31"/>
                    <a:pt x="13" y="29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1"/>
                    <a:pt x="21" y="30"/>
                    <a:pt x="22" y="2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0" y="22"/>
                    <a:pt x="21" y="20"/>
                    <a:pt x="23" y="19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9" y="22"/>
                    <a:pt x="30" y="21"/>
                    <a:pt x="31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0" y="13"/>
                    <a:pt x="32" y="12"/>
                    <a:pt x="34" y="11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9" y="15"/>
                    <a:pt x="41" y="14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2" y="6"/>
                    <a:pt x="44" y="5"/>
                    <a:pt x="46" y="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1" y="10"/>
                    <a:pt x="52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2"/>
                    <a:pt x="58" y="1"/>
                    <a:pt x="60" y="1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3" y="7"/>
                    <a:pt x="65" y="7"/>
                    <a:pt x="66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0"/>
                    <a:pt x="69" y="0"/>
                    <a:pt x="70" y="0"/>
                  </a:cubicBezTo>
                  <a:cubicBezTo>
                    <a:pt x="71" y="0"/>
                    <a:pt x="72" y="0"/>
                    <a:pt x="73" y="0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6" y="7"/>
                    <a:pt x="77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3" y="1"/>
                    <a:pt x="85" y="2"/>
                    <a:pt x="87" y="2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8" y="9"/>
                    <a:pt x="90" y="10"/>
                    <a:pt x="91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6" y="5"/>
                    <a:pt x="98" y="6"/>
                    <a:pt x="100" y="7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100" y="14"/>
                    <a:pt x="101" y="15"/>
                    <a:pt x="103" y="15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9" y="12"/>
                    <a:pt x="111" y="13"/>
                    <a:pt x="112" y="14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11" y="21"/>
                    <a:pt x="112" y="22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8" y="19"/>
                    <a:pt x="118" y="19"/>
                    <a:pt x="118" y="19"/>
                  </a:cubicBezTo>
                  <a:cubicBezTo>
                    <a:pt x="120" y="20"/>
                    <a:pt x="121" y="22"/>
                    <a:pt x="122" y="23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9" y="29"/>
                    <a:pt x="119" y="29"/>
                    <a:pt x="119" y="29"/>
                  </a:cubicBezTo>
                  <a:cubicBezTo>
                    <a:pt x="120" y="30"/>
                    <a:pt x="121" y="31"/>
                    <a:pt x="121" y="32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9" y="31"/>
                    <a:pt x="130" y="33"/>
                    <a:pt x="131" y="34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7" y="40"/>
                    <a:pt x="128" y="41"/>
                    <a:pt x="128" y="43"/>
                  </a:cubicBezTo>
                  <a:cubicBezTo>
                    <a:pt x="128" y="43"/>
                    <a:pt x="128" y="43"/>
                    <a:pt x="128" y="43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5" y="43"/>
                    <a:pt x="136" y="45"/>
                    <a:pt x="137" y="47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2" y="52"/>
                    <a:pt x="132" y="53"/>
                    <a:pt x="133" y="54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9" y="54"/>
                    <a:pt x="139" y="54"/>
                    <a:pt x="139" y="54"/>
                  </a:cubicBezTo>
                  <a:cubicBezTo>
                    <a:pt x="140" y="56"/>
                    <a:pt x="140" y="58"/>
                    <a:pt x="140" y="60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4" y="64"/>
                    <a:pt x="134" y="65"/>
                    <a:pt x="135" y="67"/>
                  </a:cubicBezTo>
                  <a:cubicBezTo>
                    <a:pt x="135" y="67"/>
                    <a:pt x="135" y="67"/>
                    <a:pt x="135" y="67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1" y="70"/>
                    <a:pt x="141" y="71"/>
                  </a:cubicBezTo>
                  <a:cubicBezTo>
                    <a:pt x="141" y="72"/>
                    <a:pt x="141" y="73"/>
                    <a:pt x="141" y="74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34" y="77"/>
                    <a:pt x="134" y="78"/>
                    <a:pt x="134" y="80"/>
                  </a:cubicBezTo>
                  <a:cubicBezTo>
                    <a:pt x="134" y="80"/>
                    <a:pt x="134" y="80"/>
                    <a:pt x="134" y="80"/>
                  </a:cubicBezTo>
                  <a:cubicBezTo>
                    <a:pt x="140" y="82"/>
                    <a:pt x="140" y="82"/>
                    <a:pt x="140" y="82"/>
                  </a:cubicBezTo>
                  <a:cubicBezTo>
                    <a:pt x="140" y="84"/>
                    <a:pt x="140" y="86"/>
                    <a:pt x="139" y="88"/>
                  </a:cubicBezTo>
                  <a:cubicBezTo>
                    <a:pt x="133" y="87"/>
                    <a:pt x="133" y="87"/>
                    <a:pt x="133" y="87"/>
                  </a:cubicBezTo>
                  <a:cubicBezTo>
                    <a:pt x="133" y="88"/>
                    <a:pt x="133" y="88"/>
                    <a:pt x="133" y="88"/>
                  </a:cubicBezTo>
                  <a:cubicBezTo>
                    <a:pt x="132" y="89"/>
                    <a:pt x="132" y="90"/>
                    <a:pt x="131" y="92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7"/>
                    <a:pt x="135" y="99"/>
                    <a:pt x="134" y="101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101"/>
                    <a:pt x="127" y="102"/>
                    <a:pt x="126" y="103"/>
                  </a:cubicBezTo>
                  <a:cubicBezTo>
                    <a:pt x="126" y="104"/>
                    <a:pt x="126" y="104"/>
                    <a:pt x="126" y="104"/>
                  </a:cubicBezTo>
                  <a:cubicBezTo>
                    <a:pt x="131" y="108"/>
                    <a:pt x="131" y="108"/>
                    <a:pt x="131" y="108"/>
                  </a:cubicBezTo>
                  <a:cubicBezTo>
                    <a:pt x="130" y="109"/>
                    <a:pt x="129" y="111"/>
                    <a:pt x="127" y="113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1" y="110"/>
                    <a:pt x="121" y="110"/>
                    <a:pt x="121" y="110"/>
                  </a:cubicBezTo>
                  <a:cubicBezTo>
                    <a:pt x="121" y="111"/>
                    <a:pt x="120" y="112"/>
                    <a:pt x="119" y="114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22" y="119"/>
                    <a:pt x="122" y="119"/>
                    <a:pt x="122" y="119"/>
                  </a:cubicBezTo>
                  <a:cubicBezTo>
                    <a:pt x="121" y="120"/>
                    <a:pt x="120" y="122"/>
                    <a:pt x="118" y="123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2" y="120"/>
                    <a:pt x="111" y="121"/>
                    <a:pt x="109" y="122"/>
                  </a:cubicBezTo>
                  <a:cubicBezTo>
                    <a:pt x="109" y="122"/>
                    <a:pt x="109" y="122"/>
                    <a:pt x="109" y="122"/>
                  </a:cubicBezTo>
                  <a:cubicBezTo>
                    <a:pt x="112" y="128"/>
                    <a:pt x="112" y="128"/>
                    <a:pt x="112" y="128"/>
                  </a:cubicBezTo>
                  <a:cubicBezTo>
                    <a:pt x="111" y="129"/>
                    <a:pt x="109" y="130"/>
                    <a:pt x="107" y="131"/>
                  </a:cubicBezTo>
                  <a:cubicBezTo>
                    <a:pt x="103" y="126"/>
                    <a:pt x="103" y="126"/>
                    <a:pt x="103" y="126"/>
                  </a:cubicBezTo>
                  <a:cubicBezTo>
                    <a:pt x="103" y="127"/>
                    <a:pt x="103" y="127"/>
                    <a:pt x="103" y="127"/>
                  </a:cubicBezTo>
                  <a:cubicBezTo>
                    <a:pt x="101" y="127"/>
                    <a:pt x="100" y="128"/>
                    <a:pt x="99" y="129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100" y="135"/>
                    <a:pt x="100" y="135"/>
                    <a:pt x="100" y="135"/>
                  </a:cubicBezTo>
                  <a:cubicBezTo>
                    <a:pt x="98" y="136"/>
                    <a:pt x="96" y="137"/>
                    <a:pt x="95" y="137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90" y="132"/>
                    <a:pt x="88" y="133"/>
                    <a:pt x="87" y="133"/>
                  </a:cubicBezTo>
                  <a:cubicBezTo>
                    <a:pt x="87" y="133"/>
                    <a:pt x="87" y="133"/>
                    <a:pt x="87" y="133"/>
                  </a:cubicBezTo>
                  <a:cubicBezTo>
                    <a:pt x="87" y="140"/>
                    <a:pt x="87" y="140"/>
                    <a:pt x="87" y="140"/>
                  </a:cubicBezTo>
                  <a:cubicBezTo>
                    <a:pt x="85" y="140"/>
                    <a:pt x="83" y="141"/>
                    <a:pt x="81" y="141"/>
                  </a:cubicBezTo>
                  <a:cubicBezTo>
                    <a:pt x="79" y="135"/>
                    <a:pt x="79" y="135"/>
                    <a:pt x="79" y="135"/>
                  </a:cubicBezTo>
                  <a:cubicBezTo>
                    <a:pt x="79" y="135"/>
                    <a:pt x="79" y="135"/>
                    <a:pt x="79" y="135"/>
                  </a:cubicBezTo>
                  <a:cubicBezTo>
                    <a:pt x="77" y="135"/>
                    <a:pt x="76" y="135"/>
                    <a:pt x="74" y="135"/>
                  </a:cubicBezTo>
                  <a:cubicBezTo>
                    <a:pt x="74" y="135"/>
                    <a:pt x="74" y="135"/>
                    <a:pt x="74" y="135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2" y="142"/>
                    <a:pt x="71" y="142"/>
                    <a:pt x="70" y="142"/>
                  </a:cubicBezTo>
                  <a:close/>
                </a:path>
              </a:pathLst>
            </a:custGeom>
            <a:solidFill>
              <a:srgbClr val="4CC7C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992238" y="3688199"/>
              <a:ext cx="569761" cy="496389"/>
            </a:xfrm>
            <a:prstGeom prst="rect">
              <a:avLst/>
            </a:prstGeom>
            <a:solidFill>
              <a:srgbClr val="4CC7C4"/>
            </a:solidFill>
            <a:ln>
              <a:solidFill>
                <a:srgbClr val="4CC7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326253" y="1923163"/>
            <a:ext cx="2331072" cy="1206803"/>
            <a:chOff x="6717433" y="2146342"/>
            <a:chExt cx="1188000" cy="1145097"/>
          </a:xfrm>
        </p:grpSpPr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6742871" y="2146342"/>
              <a:ext cx="1137124" cy="1145097"/>
            </a:xfrm>
            <a:custGeom>
              <a:avLst/>
              <a:gdLst>
                <a:gd name="T0" fmla="*/ 66 w 141"/>
                <a:gd name="T1" fmla="*/ 135 h 142"/>
                <a:gd name="T2" fmla="*/ 54 w 141"/>
                <a:gd name="T3" fmla="*/ 140 h 142"/>
                <a:gd name="T4" fmla="*/ 49 w 141"/>
                <a:gd name="T5" fmla="*/ 132 h 142"/>
                <a:gd name="T6" fmla="*/ 42 w 141"/>
                <a:gd name="T7" fmla="*/ 129 h 142"/>
                <a:gd name="T8" fmla="*/ 29 w 141"/>
                <a:gd name="T9" fmla="*/ 128 h 142"/>
                <a:gd name="T10" fmla="*/ 28 w 141"/>
                <a:gd name="T11" fmla="*/ 119 h 142"/>
                <a:gd name="T12" fmla="*/ 22 w 141"/>
                <a:gd name="T13" fmla="*/ 114 h 142"/>
                <a:gd name="T14" fmla="*/ 10 w 141"/>
                <a:gd name="T15" fmla="*/ 108 h 142"/>
                <a:gd name="T16" fmla="*/ 12 w 141"/>
                <a:gd name="T17" fmla="*/ 99 h 142"/>
                <a:gd name="T18" fmla="*/ 10 w 141"/>
                <a:gd name="T19" fmla="*/ 92 h 142"/>
                <a:gd name="T20" fmla="*/ 1 w 141"/>
                <a:gd name="T21" fmla="*/ 82 h 142"/>
                <a:gd name="T22" fmla="*/ 6 w 141"/>
                <a:gd name="T23" fmla="*/ 75 h 142"/>
                <a:gd name="T24" fmla="*/ 6 w 141"/>
                <a:gd name="T25" fmla="*/ 67 h 142"/>
                <a:gd name="T26" fmla="*/ 1 w 141"/>
                <a:gd name="T27" fmla="*/ 60 h 142"/>
                <a:gd name="T28" fmla="*/ 10 w 141"/>
                <a:gd name="T29" fmla="*/ 50 h 142"/>
                <a:gd name="T30" fmla="*/ 12 w 141"/>
                <a:gd name="T31" fmla="*/ 43 h 142"/>
                <a:gd name="T32" fmla="*/ 10 w 141"/>
                <a:gd name="T33" fmla="*/ 34 h 142"/>
                <a:gd name="T34" fmla="*/ 22 w 141"/>
                <a:gd name="T35" fmla="*/ 29 h 142"/>
                <a:gd name="T36" fmla="*/ 28 w 141"/>
                <a:gd name="T37" fmla="*/ 23 h 142"/>
                <a:gd name="T38" fmla="*/ 29 w 141"/>
                <a:gd name="T39" fmla="*/ 14 h 142"/>
                <a:gd name="T40" fmla="*/ 42 w 141"/>
                <a:gd name="T41" fmla="*/ 13 h 142"/>
                <a:gd name="T42" fmla="*/ 49 w 141"/>
                <a:gd name="T43" fmla="*/ 10 h 142"/>
                <a:gd name="T44" fmla="*/ 54 w 141"/>
                <a:gd name="T45" fmla="*/ 2 h 142"/>
                <a:gd name="T46" fmla="*/ 66 w 141"/>
                <a:gd name="T47" fmla="*/ 7 h 142"/>
                <a:gd name="T48" fmla="*/ 73 w 141"/>
                <a:gd name="T49" fmla="*/ 0 h 142"/>
                <a:gd name="T50" fmla="*/ 79 w 141"/>
                <a:gd name="T51" fmla="*/ 7 h 142"/>
                <a:gd name="T52" fmla="*/ 87 w 141"/>
                <a:gd name="T53" fmla="*/ 9 h 142"/>
                <a:gd name="T54" fmla="*/ 100 w 141"/>
                <a:gd name="T55" fmla="*/ 7 h 142"/>
                <a:gd name="T56" fmla="*/ 103 w 141"/>
                <a:gd name="T57" fmla="*/ 16 h 142"/>
                <a:gd name="T58" fmla="*/ 109 w 141"/>
                <a:gd name="T59" fmla="*/ 20 h 142"/>
                <a:gd name="T60" fmla="*/ 122 w 141"/>
                <a:gd name="T61" fmla="*/ 23 h 142"/>
                <a:gd name="T62" fmla="*/ 122 w 141"/>
                <a:gd name="T63" fmla="*/ 32 h 142"/>
                <a:gd name="T64" fmla="*/ 126 w 141"/>
                <a:gd name="T65" fmla="*/ 39 h 142"/>
                <a:gd name="T66" fmla="*/ 137 w 141"/>
                <a:gd name="T67" fmla="*/ 47 h 142"/>
                <a:gd name="T68" fmla="*/ 133 w 141"/>
                <a:gd name="T69" fmla="*/ 55 h 142"/>
                <a:gd name="T70" fmla="*/ 134 w 141"/>
                <a:gd name="T71" fmla="*/ 62 h 142"/>
                <a:gd name="T72" fmla="*/ 141 w 141"/>
                <a:gd name="T73" fmla="*/ 71 h 142"/>
                <a:gd name="T74" fmla="*/ 134 w 141"/>
                <a:gd name="T75" fmla="*/ 80 h 142"/>
                <a:gd name="T76" fmla="*/ 133 w 141"/>
                <a:gd name="T77" fmla="*/ 87 h 142"/>
                <a:gd name="T78" fmla="*/ 137 w 141"/>
                <a:gd name="T79" fmla="*/ 95 h 142"/>
                <a:gd name="T80" fmla="*/ 126 w 141"/>
                <a:gd name="T81" fmla="*/ 103 h 142"/>
                <a:gd name="T82" fmla="*/ 122 w 141"/>
                <a:gd name="T83" fmla="*/ 110 h 142"/>
                <a:gd name="T84" fmla="*/ 122 w 141"/>
                <a:gd name="T85" fmla="*/ 119 h 142"/>
                <a:gd name="T86" fmla="*/ 109 w 141"/>
                <a:gd name="T87" fmla="*/ 122 h 142"/>
                <a:gd name="T88" fmla="*/ 103 w 141"/>
                <a:gd name="T89" fmla="*/ 126 h 142"/>
                <a:gd name="T90" fmla="*/ 100 w 141"/>
                <a:gd name="T91" fmla="*/ 135 h 142"/>
                <a:gd name="T92" fmla="*/ 87 w 141"/>
                <a:gd name="T93" fmla="*/ 133 h 142"/>
                <a:gd name="T94" fmla="*/ 79 w 141"/>
                <a:gd name="T95" fmla="*/ 135 h 142"/>
                <a:gd name="T96" fmla="*/ 73 w 141"/>
                <a:gd name="T9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1" h="142">
                  <a:moveTo>
                    <a:pt x="70" y="142"/>
                  </a:moveTo>
                  <a:cubicBezTo>
                    <a:pt x="69" y="142"/>
                    <a:pt x="68" y="142"/>
                    <a:pt x="67" y="142"/>
                  </a:cubicBezTo>
                  <a:cubicBezTo>
                    <a:pt x="67" y="135"/>
                    <a:pt x="67" y="135"/>
                    <a:pt x="67" y="135"/>
                  </a:cubicBezTo>
                  <a:cubicBezTo>
                    <a:pt x="66" y="135"/>
                    <a:pt x="66" y="135"/>
                    <a:pt x="66" y="135"/>
                  </a:cubicBezTo>
                  <a:cubicBezTo>
                    <a:pt x="65" y="135"/>
                    <a:pt x="63" y="135"/>
                    <a:pt x="62" y="135"/>
                  </a:cubicBezTo>
                  <a:cubicBezTo>
                    <a:pt x="61" y="135"/>
                    <a:pt x="61" y="135"/>
                    <a:pt x="61" y="135"/>
                  </a:cubicBezTo>
                  <a:cubicBezTo>
                    <a:pt x="60" y="141"/>
                    <a:pt x="60" y="141"/>
                    <a:pt x="60" y="141"/>
                  </a:cubicBezTo>
                  <a:cubicBezTo>
                    <a:pt x="58" y="141"/>
                    <a:pt x="56" y="140"/>
                    <a:pt x="54" y="140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2" y="133"/>
                    <a:pt x="51" y="132"/>
                    <a:pt x="50" y="132"/>
                  </a:cubicBezTo>
                  <a:cubicBezTo>
                    <a:pt x="49" y="132"/>
                    <a:pt x="49" y="132"/>
                    <a:pt x="49" y="132"/>
                  </a:cubicBezTo>
                  <a:cubicBezTo>
                    <a:pt x="46" y="137"/>
                    <a:pt x="46" y="137"/>
                    <a:pt x="46" y="137"/>
                  </a:cubicBezTo>
                  <a:cubicBezTo>
                    <a:pt x="44" y="137"/>
                    <a:pt x="42" y="136"/>
                    <a:pt x="41" y="135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1" y="128"/>
                    <a:pt x="39" y="127"/>
                    <a:pt x="38" y="127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32" y="130"/>
                    <a:pt x="30" y="129"/>
                    <a:pt x="29" y="128"/>
                  </a:cubicBezTo>
                  <a:cubicBezTo>
                    <a:pt x="32" y="122"/>
                    <a:pt x="32" y="122"/>
                    <a:pt x="32" y="122"/>
                  </a:cubicBezTo>
                  <a:cubicBezTo>
                    <a:pt x="31" y="122"/>
                    <a:pt x="31" y="122"/>
                    <a:pt x="31" y="122"/>
                  </a:cubicBezTo>
                  <a:cubicBezTo>
                    <a:pt x="30" y="121"/>
                    <a:pt x="29" y="120"/>
                    <a:pt x="28" y="119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21" y="122"/>
                    <a:pt x="20" y="120"/>
                    <a:pt x="18" y="119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2" y="114"/>
                    <a:pt x="22" y="114"/>
                    <a:pt x="22" y="114"/>
                  </a:cubicBezTo>
                  <a:cubicBezTo>
                    <a:pt x="21" y="112"/>
                    <a:pt x="20" y="111"/>
                    <a:pt x="19" y="110"/>
                  </a:cubicBezTo>
                  <a:cubicBezTo>
                    <a:pt x="19" y="110"/>
                    <a:pt x="19" y="110"/>
                    <a:pt x="19" y="110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2" y="111"/>
                    <a:pt x="11" y="109"/>
                    <a:pt x="10" y="108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4" y="102"/>
                    <a:pt x="13" y="101"/>
                    <a:pt x="13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5" y="99"/>
                    <a:pt x="5" y="97"/>
                    <a:pt x="4" y="95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9" y="90"/>
                    <a:pt x="9" y="89"/>
                    <a:pt x="8" y="88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1" y="86"/>
                    <a:pt x="1" y="84"/>
                    <a:pt x="1" y="82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78"/>
                    <a:pt x="6" y="77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3"/>
                    <a:pt x="0" y="72"/>
                    <a:pt x="0" y="71"/>
                  </a:cubicBezTo>
                  <a:cubicBezTo>
                    <a:pt x="0" y="70"/>
                    <a:pt x="0" y="69"/>
                    <a:pt x="0" y="68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65"/>
                    <a:pt x="6" y="64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1" y="58"/>
                    <a:pt x="1" y="56"/>
                    <a:pt x="2" y="54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9" y="53"/>
                    <a:pt x="9" y="52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5" y="45"/>
                    <a:pt x="5" y="43"/>
                    <a:pt x="6" y="41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1"/>
                    <a:pt x="14" y="40"/>
                    <a:pt x="15" y="39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3"/>
                    <a:pt x="12" y="31"/>
                    <a:pt x="13" y="29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1"/>
                    <a:pt x="21" y="30"/>
                    <a:pt x="22" y="29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20" y="22"/>
                    <a:pt x="21" y="20"/>
                    <a:pt x="23" y="19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9" y="22"/>
                    <a:pt x="30" y="21"/>
                    <a:pt x="31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0" y="13"/>
                    <a:pt x="32" y="12"/>
                    <a:pt x="34" y="11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9" y="15"/>
                    <a:pt x="41" y="14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2" y="6"/>
                    <a:pt x="44" y="5"/>
                    <a:pt x="46" y="5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1" y="10"/>
                    <a:pt x="52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2"/>
                    <a:pt x="58" y="1"/>
                    <a:pt x="60" y="1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3" y="7"/>
                    <a:pt x="65" y="7"/>
                    <a:pt x="66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8" y="0"/>
                    <a:pt x="69" y="0"/>
                    <a:pt x="70" y="0"/>
                  </a:cubicBezTo>
                  <a:cubicBezTo>
                    <a:pt x="71" y="0"/>
                    <a:pt x="72" y="0"/>
                    <a:pt x="73" y="0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6" y="7"/>
                    <a:pt x="77" y="7"/>
                    <a:pt x="79" y="7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3" y="1"/>
                    <a:pt x="85" y="2"/>
                    <a:pt x="87" y="2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8" y="9"/>
                    <a:pt x="90" y="10"/>
                    <a:pt x="91" y="10"/>
                  </a:cubicBezTo>
                  <a:cubicBezTo>
                    <a:pt x="92" y="10"/>
                    <a:pt x="92" y="10"/>
                    <a:pt x="92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6" y="5"/>
                    <a:pt x="98" y="6"/>
                    <a:pt x="100" y="7"/>
                  </a:cubicBezTo>
                  <a:cubicBezTo>
                    <a:pt x="98" y="13"/>
                    <a:pt x="98" y="13"/>
                    <a:pt x="98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100" y="14"/>
                    <a:pt x="101" y="15"/>
                    <a:pt x="103" y="15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109" y="12"/>
                    <a:pt x="111" y="13"/>
                    <a:pt x="112" y="14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11" y="21"/>
                    <a:pt x="112" y="22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8" y="19"/>
                    <a:pt x="118" y="19"/>
                    <a:pt x="118" y="19"/>
                  </a:cubicBezTo>
                  <a:cubicBezTo>
                    <a:pt x="120" y="20"/>
                    <a:pt x="121" y="22"/>
                    <a:pt x="122" y="23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9" y="29"/>
                    <a:pt x="119" y="29"/>
                    <a:pt x="119" y="29"/>
                  </a:cubicBezTo>
                  <a:cubicBezTo>
                    <a:pt x="120" y="30"/>
                    <a:pt x="121" y="31"/>
                    <a:pt x="121" y="32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9" y="31"/>
                    <a:pt x="130" y="33"/>
                    <a:pt x="131" y="34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9"/>
                    <a:pt x="126" y="39"/>
                    <a:pt x="126" y="39"/>
                  </a:cubicBezTo>
                  <a:cubicBezTo>
                    <a:pt x="127" y="40"/>
                    <a:pt x="128" y="41"/>
                    <a:pt x="128" y="43"/>
                  </a:cubicBezTo>
                  <a:cubicBezTo>
                    <a:pt x="128" y="43"/>
                    <a:pt x="128" y="43"/>
                    <a:pt x="128" y="43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5" y="43"/>
                    <a:pt x="136" y="45"/>
                    <a:pt x="137" y="47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2" y="52"/>
                    <a:pt x="132" y="53"/>
                    <a:pt x="133" y="54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9" y="54"/>
                    <a:pt x="139" y="54"/>
                    <a:pt x="139" y="54"/>
                  </a:cubicBezTo>
                  <a:cubicBezTo>
                    <a:pt x="140" y="56"/>
                    <a:pt x="140" y="58"/>
                    <a:pt x="140" y="60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4" y="64"/>
                    <a:pt x="134" y="65"/>
                    <a:pt x="135" y="67"/>
                  </a:cubicBezTo>
                  <a:cubicBezTo>
                    <a:pt x="135" y="67"/>
                    <a:pt x="135" y="67"/>
                    <a:pt x="135" y="67"/>
                  </a:cubicBezTo>
                  <a:cubicBezTo>
                    <a:pt x="141" y="68"/>
                    <a:pt x="141" y="68"/>
                    <a:pt x="141" y="68"/>
                  </a:cubicBezTo>
                  <a:cubicBezTo>
                    <a:pt x="141" y="69"/>
                    <a:pt x="141" y="70"/>
                    <a:pt x="141" y="71"/>
                  </a:cubicBezTo>
                  <a:cubicBezTo>
                    <a:pt x="141" y="72"/>
                    <a:pt x="141" y="73"/>
                    <a:pt x="141" y="74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34" y="77"/>
                    <a:pt x="134" y="78"/>
                    <a:pt x="134" y="80"/>
                  </a:cubicBezTo>
                  <a:cubicBezTo>
                    <a:pt x="134" y="80"/>
                    <a:pt x="134" y="80"/>
                    <a:pt x="134" y="80"/>
                  </a:cubicBezTo>
                  <a:cubicBezTo>
                    <a:pt x="140" y="82"/>
                    <a:pt x="140" y="82"/>
                    <a:pt x="140" y="82"/>
                  </a:cubicBezTo>
                  <a:cubicBezTo>
                    <a:pt x="140" y="84"/>
                    <a:pt x="140" y="86"/>
                    <a:pt x="139" y="88"/>
                  </a:cubicBezTo>
                  <a:cubicBezTo>
                    <a:pt x="133" y="87"/>
                    <a:pt x="133" y="87"/>
                    <a:pt x="133" y="87"/>
                  </a:cubicBezTo>
                  <a:cubicBezTo>
                    <a:pt x="133" y="88"/>
                    <a:pt x="133" y="88"/>
                    <a:pt x="133" y="88"/>
                  </a:cubicBezTo>
                  <a:cubicBezTo>
                    <a:pt x="132" y="89"/>
                    <a:pt x="132" y="90"/>
                    <a:pt x="131" y="92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37" y="95"/>
                    <a:pt x="137" y="95"/>
                    <a:pt x="137" y="95"/>
                  </a:cubicBezTo>
                  <a:cubicBezTo>
                    <a:pt x="136" y="97"/>
                    <a:pt x="135" y="99"/>
                    <a:pt x="134" y="101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99"/>
                    <a:pt x="128" y="99"/>
                    <a:pt x="128" y="99"/>
                  </a:cubicBezTo>
                  <a:cubicBezTo>
                    <a:pt x="128" y="101"/>
                    <a:pt x="127" y="102"/>
                    <a:pt x="126" y="103"/>
                  </a:cubicBezTo>
                  <a:cubicBezTo>
                    <a:pt x="126" y="104"/>
                    <a:pt x="126" y="104"/>
                    <a:pt x="126" y="104"/>
                  </a:cubicBezTo>
                  <a:cubicBezTo>
                    <a:pt x="131" y="108"/>
                    <a:pt x="131" y="108"/>
                    <a:pt x="131" y="108"/>
                  </a:cubicBezTo>
                  <a:cubicBezTo>
                    <a:pt x="130" y="109"/>
                    <a:pt x="129" y="111"/>
                    <a:pt x="127" y="113"/>
                  </a:cubicBezTo>
                  <a:cubicBezTo>
                    <a:pt x="122" y="110"/>
                    <a:pt x="122" y="110"/>
                    <a:pt x="122" y="110"/>
                  </a:cubicBezTo>
                  <a:cubicBezTo>
                    <a:pt x="121" y="110"/>
                    <a:pt x="121" y="110"/>
                    <a:pt x="121" y="110"/>
                  </a:cubicBezTo>
                  <a:cubicBezTo>
                    <a:pt x="121" y="111"/>
                    <a:pt x="120" y="112"/>
                    <a:pt x="119" y="114"/>
                  </a:cubicBezTo>
                  <a:cubicBezTo>
                    <a:pt x="118" y="114"/>
                    <a:pt x="118" y="114"/>
                    <a:pt x="118" y="114"/>
                  </a:cubicBezTo>
                  <a:cubicBezTo>
                    <a:pt x="122" y="119"/>
                    <a:pt x="122" y="119"/>
                    <a:pt x="122" y="119"/>
                  </a:cubicBezTo>
                  <a:cubicBezTo>
                    <a:pt x="121" y="120"/>
                    <a:pt x="120" y="122"/>
                    <a:pt x="118" y="123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3" y="119"/>
                    <a:pt x="113" y="119"/>
                    <a:pt x="113" y="119"/>
                  </a:cubicBezTo>
                  <a:cubicBezTo>
                    <a:pt x="112" y="120"/>
                    <a:pt x="111" y="121"/>
                    <a:pt x="109" y="122"/>
                  </a:cubicBezTo>
                  <a:cubicBezTo>
                    <a:pt x="109" y="122"/>
                    <a:pt x="109" y="122"/>
                    <a:pt x="109" y="122"/>
                  </a:cubicBezTo>
                  <a:cubicBezTo>
                    <a:pt x="112" y="128"/>
                    <a:pt x="112" y="128"/>
                    <a:pt x="112" y="128"/>
                  </a:cubicBezTo>
                  <a:cubicBezTo>
                    <a:pt x="111" y="129"/>
                    <a:pt x="109" y="130"/>
                    <a:pt x="107" y="131"/>
                  </a:cubicBezTo>
                  <a:cubicBezTo>
                    <a:pt x="103" y="126"/>
                    <a:pt x="103" y="126"/>
                    <a:pt x="103" y="126"/>
                  </a:cubicBezTo>
                  <a:cubicBezTo>
                    <a:pt x="103" y="127"/>
                    <a:pt x="103" y="127"/>
                    <a:pt x="103" y="127"/>
                  </a:cubicBezTo>
                  <a:cubicBezTo>
                    <a:pt x="101" y="127"/>
                    <a:pt x="100" y="128"/>
                    <a:pt x="99" y="129"/>
                  </a:cubicBezTo>
                  <a:cubicBezTo>
                    <a:pt x="98" y="129"/>
                    <a:pt x="98" y="129"/>
                    <a:pt x="98" y="129"/>
                  </a:cubicBezTo>
                  <a:cubicBezTo>
                    <a:pt x="100" y="135"/>
                    <a:pt x="100" y="135"/>
                    <a:pt x="100" y="135"/>
                  </a:cubicBezTo>
                  <a:cubicBezTo>
                    <a:pt x="98" y="136"/>
                    <a:pt x="96" y="137"/>
                    <a:pt x="95" y="137"/>
                  </a:cubicBezTo>
                  <a:cubicBezTo>
                    <a:pt x="92" y="132"/>
                    <a:pt x="92" y="132"/>
                    <a:pt x="92" y="132"/>
                  </a:cubicBezTo>
                  <a:cubicBezTo>
                    <a:pt x="91" y="132"/>
                    <a:pt x="91" y="132"/>
                    <a:pt x="91" y="132"/>
                  </a:cubicBezTo>
                  <a:cubicBezTo>
                    <a:pt x="90" y="132"/>
                    <a:pt x="88" y="133"/>
                    <a:pt x="87" y="133"/>
                  </a:cubicBezTo>
                  <a:cubicBezTo>
                    <a:pt x="87" y="133"/>
                    <a:pt x="87" y="133"/>
                    <a:pt x="87" y="133"/>
                  </a:cubicBezTo>
                  <a:cubicBezTo>
                    <a:pt x="87" y="140"/>
                    <a:pt x="87" y="140"/>
                    <a:pt x="87" y="140"/>
                  </a:cubicBezTo>
                  <a:cubicBezTo>
                    <a:pt x="85" y="140"/>
                    <a:pt x="83" y="141"/>
                    <a:pt x="81" y="141"/>
                  </a:cubicBezTo>
                  <a:cubicBezTo>
                    <a:pt x="79" y="135"/>
                    <a:pt x="79" y="135"/>
                    <a:pt x="79" y="135"/>
                  </a:cubicBezTo>
                  <a:cubicBezTo>
                    <a:pt x="79" y="135"/>
                    <a:pt x="79" y="135"/>
                    <a:pt x="79" y="135"/>
                  </a:cubicBezTo>
                  <a:cubicBezTo>
                    <a:pt x="77" y="135"/>
                    <a:pt x="76" y="135"/>
                    <a:pt x="74" y="135"/>
                  </a:cubicBezTo>
                  <a:cubicBezTo>
                    <a:pt x="74" y="135"/>
                    <a:pt x="74" y="135"/>
                    <a:pt x="74" y="135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2" y="142"/>
                    <a:pt x="71" y="142"/>
                    <a:pt x="70" y="142"/>
                  </a:cubicBezTo>
                  <a:close/>
                </a:path>
              </a:pathLst>
            </a:custGeom>
            <a:solidFill>
              <a:srgbClr val="E2583D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2" name="Rectangle 61"/>
            <p:cNvSpPr/>
            <p:nvPr>
              <p:custDataLst>
                <p:tags r:id="rId4"/>
              </p:custDataLst>
            </p:nvPr>
          </p:nvSpPr>
          <p:spPr>
            <a:xfrm>
              <a:off x="6717433" y="2324638"/>
              <a:ext cx="1188000" cy="788507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2400" dirty="0" smtClean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Collaboration </a:t>
              </a:r>
            </a:p>
            <a:p>
              <a:pPr algn="ctr"/>
              <a:r>
                <a:rPr lang="en-US" sz="2400" dirty="0" smtClean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with NIC</a:t>
              </a:r>
              <a:endParaRPr lang="en-US" sz="24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2578066" y="1923163"/>
            <a:ext cx="2261466" cy="1206803"/>
            <a:chOff x="4297583" y="2146342"/>
            <a:chExt cx="1152526" cy="1145097"/>
          </a:xfrm>
        </p:grpSpPr>
        <p:grpSp>
          <p:nvGrpSpPr>
            <p:cNvPr id="63" name="Group 62"/>
            <p:cNvGrpSpPr/>
            <p:nvPr/>
          </p:nvGrpSpPr>
          <p:grpSpPr>
            <a:xfrm>
              <a:off x="4297583" y="2146342"/>
              <a:ext cx="1137124" cy="1145097"/>
              <a:chOff x="4297583" y="2146342"/>
              <a:chExt cx="1137124" cy="1145097"/>
            </a:xfrm>
          </p:grpSpPr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 flipH="1">
                <a:off x="4297583" y="2146342"/>
                <a:ext cx="1137124" cy="1145097"/>
              </a:xfrm>
              <a:custGeom>
                <a:avLst/>
                <a:gdLst>
                  <a:gd name="T0" fmla="*/ 66 w 141"/>
                  <a:gd name="T1" fmla="*/ 135 h 142"/>
                  <a:gd name="T2" fmla="*/ 54 w 141"/>
                  <a:gd name="T3" fmla="*/ 140 h 142"/>
                  <a:gd name="T4" fmla="*/ 49 w 141"/>
                  <a:gd name="T5" fmla="*/ 132 h 142"/>
                  <a:gd name="T6" fmla="*/ 42 w 141"/>
                  <a:gd name="T7" fmla="*/ 129 h 142"/>
                  <a:gd name="T8" fmla="*/ 29 w 141"/>
                  <a:gd name="T9" fmla="*/ 128 h 142"/>
                  <a:gd name="T10" fmla="*/ 28 w 141"/>
                  <a:gd name="T11" fmla="*/ 119 h 142"/>
                  <a:gd name="T12" fmla="*/ 22 w 141"/>
                  <a:gd name="T13" fmla="*/ 114 h 142"/>
                  <a:gd name="T14" fmla="*/ 10 w 141"/>
                  <a:gd name="T15" fmla="*/ 108 h 142"/>
                  <a:gd name="T16" fmla="*/ 12 w 141"/>
                  <a:gd name="T17" fmla="*/ 99 h 142"/>
                  <a:gd name="T18" fmla="*/ 10 w 141"/>
                  <a:gd name="T19" fmla="*/ 92 h 142"/>
                  <a:gd name="T20" fmla="*/ 1 w 141"/>
                  <a:gd name="T21" fmla="*/ 82 h 142"/>
                  <a:gd name="T22" fmla="*/ 6 w 141"/>
                  <a:gd name="T23" fmla="*/ 75 h 142"/>
                  <a:gd name="T24" fmla="*/ 6 w 141"/>
                  <a:gd name="T25" fmla="*/ 67 h 142"/>
                  <a:gd name="T26" fmla="*/ 1 w 141"/>
                  <a:gd name="T27" fmla="*/ 60 h 142"/>
                  <a:gd name="T28" fmla="*/ 10 w 141"/>
                  <a:gd name="T29" fmla="*/ 50 h 142"/>
                  <a:gd name="T30" fmla="*/ 12 w 141"/>
                  <a:gd name="T31" fmla="*/ 43 h 142"/>
                  <a:gd name="T32" fmla="*/ 10 w 141"/>
                  <a:gd name="T33" fmla="*/ 34 h 142"/>
                  <a:gd name="T34" fmla="*/ 22 w 141"/>
                  <a:gd name="T35" fmla="*/ 29 h 142"/>
                  <a:gd name="T36" fmla="*/ 28 w 141"/>
                  <a:gd name="T37" fmla="*/ 23 h 142"/>
                  <a:gd name="T38" fmla="*/ 29 w 141"/>
                  <a:gd name="T39" fmla="*/ 14 h 142"/>
                  <a:gd name="T40" fmla="*/ 42 w 141"/>
                  <a:gd name="T41" fmla="*/ 13 h 142"/>
                  <a:gd name="T42" fmla="*/ 49 w 141"/>
                  <a:gd name="T43" fmla="*/ 10 h 142"/>
                  <a:gd name="T44" fmla="*/ 54 w 141"/>
                  <a:gd name="T45" fmla="*/ 2 h 142"/>
                  <a:gd name="T46" fmla="*/ 66 w 141"/>
                  <a:gd name="T47" fmla="*/ 7 h 142"/>
                  <a:gd name="T48" fmla="*/ 73 w 141"/>
                  <a:gd name="T49" fmla="*/ 0 h 142"/>
                  <a:gd name="T50" fmla="*/ 79 w 141"/>
                  <a:gd name="T51" fmla="*/ 7 h 142"/>
                  <a:gd name="T52" fmla="*/ 87 w 141"/>
                  <a:gd name="T53" fmla="*/ 9 h 142"/>
                  <a:gd name="T54" fmla="*/ 100 w 141"/>
                  <a:gd name="T55" fmla="*/ 7 h 142"/>
                  <a:gd name="T56" fmla="*/ 103 w 141"/>
                  <a:gd name="T57" fmla="*/ 16 h 142"/>
                  <a:gd name="T58" fmla="*/ 109 w 141"/>
                  <a:gd name="T59" fmla="*/ 20 h 142"/>
                  <a:gd name="T60" fmla="*/ 122 w 141"/>
                  <a:gd name="T61" fmla="*/ 23 h 142"/>
                  <a:gd name="T62" fmla="*/ 122 w 141"/>
                  <a:gd name="T63" fmla="*/ 32 h 142"/>
                  <a:gd name="T64" fmla="*/ 126 w 141"/>
                  <a:gd name="T65" fmla="*/ 39 h 142"/>
                  <a:gd name="T66" fmla="*/ 137 w 141"/>
                  <a:gd name="T67" fmla="*/ 47 h 142"/>
                  <a:gd name="T68" fmla="*/ 133 w 141"/>
                  <a:gd name="T69" fmla="*/ 55 h 142"/>
                  <a:gd name="T70" fmla="*/ 134 w 141"/>
                  <a:gd name="T71" fmla="*/ 62 h 142"/>
                  <a:gd name="T72" fmla="*/ 141 w 141"/>
                  <a:gd name="T73" fmla="*/ 71 h 142"/>
                  <a:gd name="T74" fmla="*/ 134 w 141"/>
                  <a:gd name="T75" fmla="*/ 80 h 142"/>
                  <a:gd name="T76" fmla="*/ 133 w 141"/>
                  <a:gd name="T77" fmla="*/ 87 h 142"/>
                  <a:gd name="T78" fmla="*/ 137 w 141"/>
                  <a:gd name="T79" fmla="*/ 95 h 142"/>
                  <a:gd name="T80" fmla="*/ 126 w 141"/>
                  <a:gd name="T81" fmla="*/ 103 h 142"/>
                  <a:gd name="T82" fmla="*/ 122 w 141"/>
                  <a:gd name="T83" fmla="*/ 110 h 142"/>
                  <a:gd name="T84" fmla="*/ 122 w 141"/>
                  <a:gd name="T85" fmla="*/ 119 h 142"/>
                  <a:gd name="T86" fmla="*/ 109 w 141"/>
                  <a:gd name="T87" fmla="*/ 122 h 142"/>
                  <a:gd name="T88" fmla="*/ 103 w 141"/>
                  <a:gd name="T89" fmla="*/ 126 h 142"/>
                  <a:gd name="T90" fmla="*/ 100 w 141"/>
                  <a:gd name="T91" fmla="*/ 135 h 142"/>
                  <a:gd name="T92" fmla="*/ 87 w 141"/>
                  <a:gd name="T93" fmla="*/ 133 h 142"/>
                  <a:gd name="T94" fmla="*/ 79 w 141"/>
                  <a:gd name="T95" fmla="*/ 135 h 142"/>
                  <a:gd name="T96" fmla="*/ 73 w 141"/>
                  <a:gd name="T9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1" h="142">
                    <a:moveTo>
                      <a:pt x="70" y="142"/>
                    </a:moveTo>
                    <a:cubicBezTo>
                      <a:pt x="69" y="142"/>
                      <a:pt x="68" y="142"/>
                      <a:pt x="67" y="142"/>
                    </a:cubicBezTo>
                    <a:cubicBezTo>
                      <a:pt x="67" y="135"/>
                      <a:pt x="67" y="135"/>
                      <a:pt x="67" y="135"/>
                    </a:cubicBezTo>
                    <a:cubicBezTo>
                      <a:pt x="66" y="135"/>
                      <a:pt x="66" y="135"/>
                      <a:pt x="66" y="135"/>
                    </a:cubicBezTo>
                    <a:cubicBezTo>
                      <a:pt x="65" y="135"/>
                      <a:pt x="63" y="135"/>
                      <a:pt x="62" y="135"/>
                    </a:cubicBezTo>
                    <a:cubicBezTo>
                      <a:pt x="61" y="135"/>
                      <a:pt x="61" y="135"/>
                      <a:pt x="61" y="135"/>
                    </a:cubicBezTo>
                    <a:cubicBezTo>
                      <a:pt x="60" y="141"/>
                      <a:pt x="60" y="141"/>
                      <a:pt x="60" y="141"/>
                    </a:cubicBezTo>
                    <a:cubicBezTo>
                      <a:pt x="58" y="141"/>
                      <a:pt x="56" y="140"/>
                      <a:pt x="54" y="140"/>
                    </a:cubicBezTo>
                    <a:cubicBezTo>
                      <a:pt x="54" y="133"/>
                      <a:pt x="54" y="133"/>
                      <a:pt x="54" y="133"/>
                    </a:cubicBezTo>
                    <a:cubicBezTo>
                      <a:pt x="54" y="133"/>
                      <a:pt x="54" y="133"/>
                      <a:pt x="54" y="133"/>
                    </a:cubicBezTo>
                    <a:cubicBezTo>
                      <a:pt x="52" y="133"/>
                      <a:pt x="51" y="132"/>
                      <a:pt x="50" y="132"/>
                    </a:cubicBezTo>
                    <a:cubicBezTo>
                      <a:pt x="49" y="132"/>
                      <a:pt x="49" y="132"/>
                      <a:pt x="49" y="132"/>
                    </a:cubicBezTo>
                    <a:cubicBezTo>
                      <a:pt x="46" y="137"/>
                      <a:pt x="46" y="137"/>
                      <a:pt x="46" y="137"/>
                    </a:cubicBezTo>
                    <a:cubicBezTo>
                      <a:pt x="44" y="137"/>
                      <a:pt x="42" y="136"/>
                      <a:pt x="41" y="135"/>
                    </a:cubicBezTo>
                    <a:cubicBezTo>
                      <a:pt x="42" y="129"/>
                      <a:pt x="42" y="129"/>
                      <a:pt x="42" y="129"/>
                    </a:cubicBezTo>
                    <a:cubicBezTo>
                      <a:pt x="42" y="129"/>
                      <a:pt x="42" y="129"/>
                      <a:pt x="42" y="129"/>
                    </a:cubicBezTo>
                    <a:cubicBezTo>
                      <a:pt x="41" y="128"/>
                      <a:pt x="39" y="127"/>
                      <a:pt x="38" y="127"/>
                    </a:cubicBezTo>
                    <a:cubicBezTo>
                      <a:pt x="38" y="126"/>
                      <a:pt x="38" y="126"/>
                      <a:pt x="38" y="126"/>
                    </a:cubicBezTo>
                    <a:cubicBezTo>
                      <a:pt x="34" y="131"/>
                      <a:pt x="34" y="131"/>
                      <a:pt x="34" y="131"/>
                    </a:cubicBezTo>
                    <a:cubicBezTo>
                      <a:pt x="32" y="130"/>
                      <a:pt x="30" y="129"/>
                      <a:pt x="29" y="128"/>
                    </a:cubicBezTo>
                    <a:cubicBezTo>
                      <a:pt x="32" y="122"/>
                      <a:pt x="32" y="122"/>
                      <a:pt x="32" y="122"/>
                    </a:cubicBezTo>
                    <a:cubicBezTo>
                      <a:pt x="31" y="122"/>
                      <a:pt x="31" y="122"/>
                      <a:pt x="31" y="122"/>
                    </a:cubicBezTo>
                    <a:cubicBezTo>
                      <a:pt x="30" y="121"/>
                      <a:pt x="29" y="120"/>
                      <a:pt x="28" y="119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3" y="123"/>
                      <a:pt x="23" y="123"/>
                      <a:pt x="23" y="123"/>
                    </a:cubicBezTo>
                    <a:cubicBezTo>
                      <a:pt x="21" y="122"/>
                      <a:pt x="20" y="120"/>
                      <a:pt x="18" y="119"/>
                    </a:cubicBezTo>
                    <a:cubicBezTo>
                      <a:pt x="22" y="114"/>
                      <a:pt x="22" y="114"/>
                      <a:pt x="22" y="114"/>
                    </a:cubicBezTo>
                    <a:cubicBezTo>
                      <a:pt x="22" y="114"/>
                      <a:pt x="22" y="114"/>
                      <a:pt x="22" y="114"/>
                    </a:cubicBezTo>
                    <a:cubicBezTo>
                      <a:pt x="21" y="112"/>
                      <a:pt x="20" y="111"/>
                      <a:pt x="19" y="110"/>
                    </a:cubicBezTo>
                    <a:cubicBezTo>
                      <a:pt x="19" y="110"/>
                      <a:pt x="19" y="110"/>
                      <a:pt x="19" y="110"/>
                    </a:cubicBezTo>
                    <a:cubicBezTo>
                      <a:pt x="13" y="113"/>
                      <a:pt x="13" y="113"/>
                      <a:pt x="13" y="113"/>
                    </a:cubicBezTo>
                    <a:cubicBezTo>
                      <a:pt x="12" y="111"/>
                      <a:pt x="11" y="109"/>
                      <a:pt x="10" y="108"/>
                    </a:cubicBezTo>
                    <a:cubicBezTo>
                      <a:pt x="15" y="104"/>
                      <a:pt x="15" y="104"/>
                      <a:pt x="15" y="104"/>
                    </a:cubicBezTo>
                    <a:cubicBezTo>
                      <a:pt x="15" y="103"/>
                      <a:pt x="15" y="103"/>
                      <a:pt x="15" y="103"/>
                    </a:cubicBezTo>
                    <a:cubicBezTo>
                      <a:pt x="14" y="102"/>
                      <a:pt x="13" y="101"/>
                      <a:pt x="13" y="99"/>
                    </a:cubicBezTo>
                    <a:cubicBezTo>
                      <a:pt x="12" y="99"/>
                      <a:pt x="12" y="99"/>
                      <a:pt x="12" y="99"/>
                    </a:cubicBezTo>
                    <a:cubicBezTo>
                      <a:pt x="6" y="101"/>
                      <a:pt x="6" y="101"/>
                      <a:pt x="6" y="101"/>
                    </a:cubicBezTo>
                    <a:cubicBezTo>
                      <a:pt x="5" y="99"/>
                      <a:pt x="5" y="97"/>
                      <a:pt x="4" y="95"/>
                    </a:cubicBezTo>
                    <a:cubicBezTo>
                      <a:pt x="10" y="92"/>
                      <a:pt x="10" y="92"/>
                      <a:pt x="10" y="92"/>
                    </a:cubicBezTo>
                    <a:cubicBezTo>
                      <a:pt x="10" y="92"/>
                      <a:pt x="10" y="92"/>
                      <a:pt x="10" y="92"/>
                    </a:cubicBezTo>
                    <a:cubicBezTo>
                      <a:pt x="9" y="90"/>
                      <a:pt x="9" y="89"/>
                      <a:pt x="8" y="88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2" y="88"/>
                      <a:pt x="2" y="88"/>
                      <a:pt x="2" y="88"/>
                    </a:cubicBezTo>
                    <a:cubicBezTo>
                      <a:pt x="1" y="86"/>
                      <a:pt x="1" y="84"/>
                      <a:pt x="1" y="82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6" y="78"/>
                      <a:pt x="6" y="77"/>
                      <a:pt x="6" y="75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3"/>
                      <a:pt x="0" y="72"/>
                      <a:pt x="0" y="71"/>
                    </a:cubicBezTo>
                    <a:cubicBezTo>
                      <a:pt x="0" y="70"/>
                      <a:pt x="0" y="69"/>
                      <a:pt x="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6" y="65"/>
                      <a:pt x="6" y="64"/>
                      <a:pt x="7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58"/>
                      <a:pt x="1" y="56"/>
                      <a:pt x="2" y="54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9" y="53"/>
                      <a:pt x="9" y="52"/>
                      <a:pt x="10" y="50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5" y="45"/>
                      <a:pt x="5" y="43"/>
                      <a:pt x="6" y="41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41"/>
                      <a:pt x="14" y="40"/>
                      <a:pt x="15" y="39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11" y="33"/>
                      <a:pt x="12" y="31"/>
                      <a:pt x="13" y="2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1"/>
                      <a:pt x="21" y="30"/>
                      <a:pt x="22" y="29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2"/>
                      <a:pt x="21" y="20"/>
                      <a:pt x="23" y="19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9" y="22"/>
                      <a:pt x="30" y="21"/>
                      <a:pt x="31" y="20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3"/>
                      <a:pt x="32" y="12"/>
                      <a:pt x="34" y="11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9" y="15"/>
                      <a:pt x="41" y="14"/>
                      <a:pt x="42" y="13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42" y="6"/>
                      <a:pt x="44" y="5"/>
                      <a:pt x="46" y="5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1" y="10"/>
                      <a:pt x="52" y="9"/>
                      <a:pt x="54" y="9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4" y="2"/>
                      <a:pt x="54" y="2"/>
                      <a:pt x="54" y="2"/>
                    </a:cubicBezTo>
                    <a:cubicBezTo>
                      <a:pt x="56" y="2"/>
                      <a:pt x="58" y="1"/>
                      <a:pt x="60" y="1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63" y="7"/>
                      <a:pt x="65" y="7"/>
                      <a:pt x="66" y="7"/>
                    </a:cubicBezTo>
                    <a:cubicBezTo>
                      <a:pt x="67" y="7"/>
                      <a:pt x="67" y="7"/>
                      <a:pt x="67" y="7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8" y="0"/>
                      <a:pt x="69" y="0"/>
                      <a:pt x="70" y="0"/>
                    </a:cubicBezTo>
                    <a:cubicBezTo>
                      <a:pt x="71" y="0"/>
                      <a:pt x="72" y="0"/>
                      <a:pt x="73" y="0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6" y="7"/>
                      <a:pt x="77" y="7"/>
                      <a:pt x="79" y="7"/>
                    </a:cubicBezTo>
                    <a:cubicBezTo>
                      <a:pt x="79" y="7"/>
                      <a:pt x="79" y="7"/>
                      <a:pt x="79" y="7"/>
                    </a:cubicBezTo>
                    <a:cubicBezTo>
                      <a:pt x="81" y="1"/>
                      <a:pt x="81" y="1"/>
                      <a:pt x="81" y="1"/>
                    </a:cubicBezTo>
                    <a:cubicBezTo>
                      <a:pt x="83" y="1"/>
                      <a:pt x="85" y="2"/>
                      <a:pt x="87" y="2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8" y="9"/>
                      <a:pt x="90" y="10"/>
                      <a:pt x="91" y="10"/>
                    </a:cubicBezTo>
                    <a:cubicBezTo>
                      <a:pt x="92" y="10"/>
                      <a:pt x="92" y="10"/>
                      <a:pt x="92" y="10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6" y="5"/>
                      <a:pt x="98" y="6"/>
                      <a:pt x="100" y="7"/>
                    </a:cubicBezTo>
                    <a:cubicBezTo>
                      <a:pt x="98" y="13"/>
                      <a:pt x="98" y="13"/>
                      <a:pt x="98" y="13"/>
                    </a:cubicBezTo>
                    <a:cubicBezTo>
                      <a:pt x="99" y="13"/>
                      <a:pt x="99" y="13"/>
                      <a:pt x="99" y="13"/>
                    </a:cubicBezTo>
                    <a:cubicBezTo>
                      <a:pt x="100" y="14"/>
                      <a:pt x="101" y="15"/>
                      <a:pt x="103" y="15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7" y="11"/>
                      <a:pt x="107" y="11"/>
                      <a:pt x="107" y="11"/>
                    </a:cubicBezTo>
                    <a:cubicBezTo>
                      <a:pt x="109" y="12"/>
                      <a:pt x="111" y="13"/>
                      <a:pt x="112" y="14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11" y="21"/>
                      <a:pt x="112" y="22"/>
                      <a:pt x="113" y="23"/>
                    </a:cubicBezTo>
                    <a:cubicBezTo>
                      <a:pt x="113" y="23"/>
                      <a:pt x="113" y="23"/>
                      <a:pt x="113" y="23"/>
                    </a:cubicBezTo>
                    <a:cubicBezTo>
                      <a:pt x="118" y="19"/>
                      <a:pt x="118" y="19"/>
                      <a:pt x="118" y="19"/>
                    </a:cubicBezTo>
                    <a:cubicBezTo>
                      <a:pt x="120" y="20"/>
                      <a:pt x="121" y="22"/>
                      <a:pt x="122" y="23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19" y="29"/>
                      <a:pt x="119" y="29"/>
                      <a:pt x="119" y="29"/>
                    </a:cubicBezTo>
                    <a:cubicBezTo>
                      <a:pt x="120" y="30"/>
                      <a:pt x="121" y="31"/>
                      <a:pt x="121" y="32"/>
                    </a:cubicBezTo>
                    <a:cubicBezTo>
                      <a:pt x="122" y="32"/>
                      <a:pt x="122" y="32"/>
                      <a:pt x="122" y="32"/>
                    </a:cubicBezTo>
                    <a:cubicBezTo>
                      <a:pt x="127" y="29"/>
                      <a:pt x="127" y="29"/>
                      <a:pt x="127" y="29"/>
                    </a:cubicBezTo>
                    <a:cubicBezTo>
                      <a:pt x="129" y="31"/>
                      <a:pt x="130" y="33"/>
                      <a:pt x="131" y="34"/>
                    </a:cubicBezTo>
                    <a:cubicBezTo>
                      <a:pt x="126" y="38"/>
                      <a:pt x="126" y="38"/>
                      <a:pt x="126" y="38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7" y="40"/>
                      <a:pt x="128" y="41"/>
                      <a:pt x="128" y="43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4" y="41"/>
                      <a:pt x="134" y="41"/>
                      <a:pt x="134" y="41"/>
                    </a:cubicBezTo>
                    <a:cubicBezTo>
                      <a:pt x="135" y="43"/>
                      <a:pt x="136" y="45"/>
                      <a:pt x="137" y="47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2" y="52"/>
                      <a:pt x="132" y="53"/>
                      <a:pt x="133" y="54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9" y="54"/>
                      <a:pt x="139" y="54"/>
                      <a:pt x="139" y="54"/>
                    </a:cubicBezTo>
                    <a:cubicBezTo>
                      <a:pt x="140" y="56"/>
                      <a:pt x="140" y="58"/>
                      <a:pt x="140" y="60"/>
                    </a:cubicBezTo>
                    <a:cubicBezTo>
                      <a:pt x="134" y="62"/>
                      <a:pt x="134" y="62"/>
                      <a:pt x="134" y="62"/>
                    </a:cubicBezTo>
                    <a:cubicBezTo>
                      <a:pt x="134" y="62"/>
                      <a:pt x="134" y="62"/>
                      <a:pt x="134" y="62"/>
                    </a:cubicBezTo>
                    <a:cubicBezTo>
                      <a:pt x="134" y="64"/>
                      <a:pt x="134" y="65"/>
                      <a:pt x="135" y="67"/>
                    </a:cubicBezTo>
                    <a:cubicBezTo>
                      <a:pt x="135" y="67"/>
                      <a:pt x="135" y="67"/>
                      <a:pt x="135" y="67"/>
                    </a:cubicBezTo>
                    <a:cubicBezTo>
                      <a:pt x="141" y="68"/>
                      <a:pt x="141" y="68"/>
                      <a:pt x="141" y="68"/>
                    </a:cubicBezTo>
                    <a:cubicBezTo>
                      <a:pt x="141" y="69"/>
                      <a:pt x="141" y="70"/>
                      <a:pt x="141" y="71"/>
                    </a:cubicBezTo>
                    <a:cubicBezTo>
                      <a:pt x="141" y="72"/>
                      <a:pt x="141" y="73"/>
                      <a:pt x="141" y="74"/>
                    </a:cubicBezTo>
                    <a:cubicBezTo>
                      <a:pt x="135" y="75"/>
                      <a:pt x="135" y="75"/>
                      <a:pt x="135" y="75"/>
                    </a:cubicBezTo>
                    <a:cubicBezTo>
                      <a:pt x="135" y="75"/>
                      <a:pt x="135" y="75"/>
                      <a:pt x="135" y="75"/>
                    </a:cubicBezTo>
                    <a:cubicBezTo>
                      <a:pt x="134" y="77"/>
                      <a:pt x="134" y="78"/>
                      <a:pt x="134" y="80"/>
                    </a:cubicBezTo>
                    <a:cubicBezTo>
                      <a:pt x="134" y="80"/>
                      <a:pt x="134" y="80"/>
                      <a:pt x="134" y="80"/>
                    </a:cubicBezTo>
                    <a:cubicBezTo>
                      <a:pt x="140" y="82"/>
                      <a:pt x="140" y="82"/>
                      <a:pt x="140" y="82"/>
                    </a:cubicBezTo>
                    <a:cubicBezTo>
                      <a:pt x="140" y="84"/>
                      <a:pt x="140" y="86"/>
                      <a:pt x="139" y="88"/>
                    </a:cubicBezTo>
                    <a:cubicBezTo>
                      <a:pt x="133" y="87"/>
                      <a:pt x="133" y="87"/>
                      <a:pt x="133" y="87"/>
                    </a:cubicBezTo>
                    <a:cubicBezTo>
                      <a:pt x="133" y="88"/>
                      <a:pt x="133" y="88"/>
                      <a:pt x="133" y="88"/>
                    </a:cubicBezTo>
                    <a:cubicBezTo>
                      <a:pt x="132" y="89"/>
                      <a:pt x="132" y="90"/>
                      <a:pt x="131" y="92"/>
                    </a:cubicBezTo>
                    <a:cubicBezTo>
                      <a:pt x="131" y="92"/>
                      <a:pt x="131" y="92"/>
                      <a:pt x="131" y="92"/>
                    </a:cubicBezTo>
                    <a:cubicBezTo>
                      <a:pt x="137" y="95"/>
                      <a:pt x="137" y="95"/>
                      <a:pt x="137" y="95"/>
                    </a:cubicBezTo>
                    <a:cubicBezTo>
                      <a:pt x="136" y="97"/>
                      <a:pt x="135" y="99"/>
                      <a:pt x="134" y="101"/>
                    </a:cubicBezTo>
                    <a:cubicBezTo>
                      <a:pt x="128" y="99"/>
                      <a:pt x="128" y="99"/>
                      <a:pt x="128" y="99"/>
                    </a:cubicBezTo>
                    <a:cubicBezTo>
                      <a:pt x="128" y="99"/>
                      <a:pt x="128" y="99"/>
                      <a:pt x="128" y="99"/>
                    </a:cubicBezTo>
                    <a:cubicBezTo>
                      <a:pt x="128" y="101"/>
                      <a:pt x="127" y="102"/>
                      <a:pt x="126" y="103"/>
                    </a:cubicBezTo>
                    <a:cubicBezTo>
                      <a:pt x="126" y="104"/>
                      <a:pt x="126" y="104"/>
                      <a:pt x="126" y="104"/>
                    </a:cubicBezTo>
                    <a:cubicBezTo>
                      <a:pt x="131" y="108"/>
                      <a:pt x="131" y="108"/>
                      <a:pt x="131" y="108"/>
                    </a:cubicBezTo>
                    <a:cubicBezTo>
                      <a:pt x="130" y="109"/>
                      <a:pt x="129" y="111"/>
                      <a:pt x="127" y="113"/>
                    </a:cubicBezTo>
                    <a:cubicBezTo>
                      <a:pt x="122" y="110"/>
                      <a:pt x="122" y="110"/>
                      <a:pt x="122" y="110"/>
                    </a:cubicBezTo>
                    <a:cubicBezTo>
                      <a:pt x="121" y="110"/>
                      <a:pt x="121" y="110"/>
                      <a:pt x="121" y="110"/>
                    </a:cubicBezTo>
                    <a:cubicBezTo>
                      <a:pt x="121" y="111"/>
                      <a:pt x="120" y="112"/>
                      <a:pt x="119" y="114"/>
                    </a:cubicBezTo>
                    <a:cubicBezTo>
                      <a:pt x="118" y="114"/>
                      <a:pt x="118" y="114"/>
                      <a:pt x="118" y="114"/>
                    </a:cubicBezTo>
                    <a:cubicBezTo>
                      <a:pt x="122" y="119"/>
                      <a:pt x="122" y="119"/>
                      <a:pt x="122" y="119"/>
                    </a:cubicBezTo>
                    <a:cubicBezTo>
                      <a:pt x="121" y="120"/>
                      <a:pt x="120" y="122"/>
                      <a:pt x="118" y="123"/>
                    </a:cubicBezTo>
                    <a:cubicBezTo>
                      <a:pt x="113" y="119"/>
                      <a:pt x="113" y="119"/>
                      <a:pt x="113" y="119"/>
                    </a:cubicBezTo>
                    <a:cubicBezTo>
                      <a:pt x="113" y="119"/>
                      <a:pt x="113" y="119"/>
                      <a:pt x="113" y="119"/>
                    </a:cubicBezTo>
                    <a:cubicBezTo>
                      <a:pt x="112" y="120"/>
                      <a:pt x="111" y="121"/>
                      <a:pt x="109" y="122"/>
                    </a:cubicBezTo>
                    <a:cubicBezTo>
                      <a:pt x="109" y="122"/>
                      <a:pt x="109" y="122"/>
                      <a:pt x="109" y="122"/>
                    </a:cubicBezTo>
                    <a:cubicBezTo>
                      <a:pt x="112" y="128"/>
                      <a:pt x="112" y="128"/>
                      <a:pt x="112" y="128"/>
                    </a:cubicBezTo>
                    <a:cubicBezTo>
                      <a:pt x="111" y="129"/>
                      <a:pt x="109" y="130"/>
                      <a:pt x="107" y="131"/>
                    </a:cubicBezTo>
                    <a:cubicBezTo>
                      <a:pt x="103" y="126"/>
                      <a:pt x="103" y="126"/>
                      <a:pt x="103" y="126"/>
                    </a:cubicBezTo>
                    <a:cubicBezTo>
                      <a:pt x="103" y="127"/>
                      <a:pt x="103" y="127"/>
                      <a:pt x="103" y="127"/>
                    </a:cubicBezTo>
                    <a:cubicBezTo>
                      <a:pt x="101" y="127"/>
                      <a:pt x="100" y="128"/>
                      <a:pt x="99" y="129"/>
                    </a:cubicBezTo>
                    <a:cubicBezTo>
                      <a:pt x="98" y="129"/>
                      <a:pt x="98" y="129"/>
                      <a:pt x="98" y="129"/>
                    </a:cubicBezTo>
                    <a:cubicBezTo>
                      <a:pt x="100" y="135"/>
                      <a:pt x="100" y="135"/>
                      <a:pt x="100" y="135"/>
                    </a:cubicBezTo>
                    <a:cubicBezTo>
                      <a:pt x="98" y="136"/>
                      <a:pt x="96" y="137"/>
                      <a:pt x="95" y="137"/>
                    </a:cubicBezTo>
                    <a:cubicBezTo>
                      <a:pt x="92" y="132"/>
                      <a:pt x="92" y="132"/>
                      <a:pt x="92" y="132"/>
                    </a:cubicBezTo>
                    <a:cubicBezTo>
                      <a:pt x="91" y="132"/>
                      <a:pt x="91" y="132"/>
                      <a:pt x="91" y="132"/>
                    </a:cubicBezTo>
                    <a:cubicBezTo>
                      <a:pt x="90" y="132"/>
                      <a:pt x="88" y="133"/>
                      <a:pt x="87" y="133"/>
                    </a:cubicBezTo>
                    <a:cubicBezTo>
                      <a:pt x="87" y="133"/>
                      <a:pt x="87" y="133"/>
                      <a:pt x="87" y="133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5" y="140"/>
                      <a:pt x="83" y="141"/>
                      <a:pt x="81" y="141"/>
                    </a:cubicBezTo>
                    <a:cubicBezTo>
                      <a:pt x="79" y="135"/>
                      <a:pt x="79" y="135"/>
                      <a:pt x="79" y="135"/>
                    </a:cubicBezTo>
                    <a:cubicBezTo>
                      <a:pt x="79" y="135"/>
                      <a:pt x="79" y="135"/>
                      <a:pt x="79" y="135"/>
                    </a:cubicBezTo>
                    <a:cubicBezTo>
                      <a:pt x="77" y="135"/>
                      <a:pt x="76" y="135"/>
                      <a:pt x="74" y="135"/>
                    </a:cubicBezTo>
                    <a:cubicBezTo>
                      <a:pt x="74" y="135"/>
                      <a:pt x="74" y="135"/>
                      <a:pt x="74" y="135"/>
                    </a:cubicBezTo>
                    <a:cubicBezTo>
                      <a:pt x="73" y="142"/>
                      <a:pt x="73" y="142"/>
                      <a:pt x="73" y="142"/>
                    </a:cubicBezTo>
                    <a:cubicBezTo>
                      <a:pt x="72" y="142"/>
                      <a:pt x="71" y="142"/>
                      <a:pt x="70" y="142"/>
                    </a:cubicBezTo>
                    <a:close/>
                  </a:path>
                </a:pathLst>
              </a:custGeom>
              <a:solidFill>
                <a:srgbClr val="78D2D2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" name="Rectangle 1"/>
              <p:cNvSpPr/>
              <p:nvPr/>
            </p:nvSpPr>
            <p:spPr>
              <a:xfrm>
                <a:off x="4603130" y="2468880"/>
                <a:ext cx="569761" cy="496389"/>
              </a:xfrm>
              <a:prstGeom prst="rect">
                <a:avLst/>
              </a:prstGeom>
              <a:solidFill>
                <a:srgbClr val="78D2D2"/>
              </a:solidFill>
              <a:ln>
                <a:solidFill>
                  <a:srgbClr val="78D2D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sp>
          <p:nvSpPr>
            <p:cNvPr id="66" name="Rectangle 65"/>
            <p:cNvSpPr/>
            <p:nvPr>
              <p:custDataLst>
                <p:tags r:id="rId3"/>
              </p:custDataLst>
            </p:nvPr>
          </p:nvSpPr>
          <p:spPr>
            <a:xfrm>
              <a:off x="4298109" y="2204968"/>
              <a:ext cx="1152000" cy="788507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chemeClr val="bg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Release </a:t>
              </a:r>
            </a:p>
            <a:p>
              <a:pPr algn="ctr"/>
              <a:r>
                <a:rPr lang="en-US" sz="2400" dirty="0" smtClean="0">
                  <a:solidFill>
                    <a:schemeClr val="bg1">
                      <a:lumMod val="75000"/>
                      <a:lumOff val="25000"/>
                    </a:scheme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anagement</a:t>
              </a:r>
              <a:endParaRPr lang="en-US" sz="2400" dirty="0">
                <a:solidFill>
                  <a:schemeClr val="bg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2697610" y="3256985"/>
            <a:ext cx="2260434" cy="1176138"/>
            <a:chOff x="4358507" y="3411963"/>
            <a:chExt cx="1152000" cy="1116000"/>
          </a:xfrm>
        </p:grpSpPr>
        <p:grpSp>
          <p:nvGrpSpPr>
            <p:cNvPr id="65" name="Group 64"/>
            <p:cNvGrpSpPr/>
            <p:nvPr/>
          </p:nvGrpSpPr>
          <p:grpSpPr>
            <a:xfrm>
              <a:off x="4376507" y="3411963"/>
              <a:ext cx="1116000" cy="1116000"/>
              <a:chOff x="4383689" y="3411964"/>
              <a:chExt cx="1051018" cy="1058385"/>
            </a:xfrm>
          </p:grpSpPr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 flipH="1">
                <a:off x="4383689" y="3411964"/>
                <a:ext cx="1051018" cy="1058385"/>
              </a:xfrm>
              <a:custGeom>
                <a:avLst/>
                <a:gdLst>
                  <a:gd name="T0" fmla="*/ 66 w 141"/>
                  <a:gd name="T1" fmla="*/ 135 h 142"/>
                  <a:gd name="T2" fmla="*/ 54 w 141"/>
                  <a:gd name="T3" fmla="*/ 140 h 142"/>
                  <a:gd name="T4" fmla="*/ 49 w 141"/>
                  <a:gd name="T5" fmla="*/ 132 h 142"/>
                  <a:gd name="T6" fmla="*/ 42 w 141"/>
                  <a:gd name="T7" fmla="*/ 129 h 142"/>
                  <a:gd name="T8" fmla="*/ 29 w 141"/>
                  <a:gd name="T9" fmla="*/ 128 h 142"/>
                  <a:gd name="T10" fmla="*/ 28 w 141"/>
                  <a:gd name="T11" fmla="*/ 119 h 142"/>
                  <a:gd name="T12" fmla="*/ 22 w 141"/>
                  <a:gd name="T13" fmla="*/ 114 h 142"/>
                  <a:gd name="T14" fmla="*/ 10 w 141"/>
                  <a:gd name="T15" fmla="*/ 108 h 142"/>
                  <a:gd name="T16" fmla="*/ 12 w 141"/>
                  <a:gd name="T17" fmla="*/ 99 h 142"/>
                  <a:gd name="T18" fmla="*/ 10 w 141"/>
                  <a:gd name="T19" fmla="*/ 92 h 142"/>
                  <a:gd name="T20" fmla="*/ 1 w 141"/>
                  <a:gd name="T21" fmla="*/ 82 h 142"/>
                  <a:gd name="T22" fmla="*/ 6 w 141"/>
                  <a:gd name="T23" fmla="*/ 75 h 142"/>
                  <a:gd name="T24" fmla="*/ 6 w 141"/>
                  <a:gd name="T25" fmla="*/ 67 h 142"/>
                  <a:gd name="T26" fmla="*/ 1 w 141"/>
                  <a:gd name="T27" fmla="*/ 60 h 142"/>
                  <a:gd name="T28" fmla="*/ 10 w 141"/>
                  <a:gd name="T29" fmla="*/ 50 h 142"/>
                  <a:gd name="T30" fmla="*/ 12 w 141"/>
                  <a:gd name="T31" fmla="*/ 43 h 142"/>
                  <a:gd name="T32" fmla="*/ 10 w 141"/>
                  <a:gd name="T33" fmla="*/ 34 h 142"/>
                  <a:gd name="T34" fmla="*/ 22 w 141"/>
                  <a:gd name="T35" fmla="*/ 29 h 142"/>
                  <a:gd name="T36" fmla="*/ 28 w 141"/>
                  <a:gd name="T37" fmla="*/ 23 h 142"/>
                  <a:gd name="T38" fmla="*/ 29 w 141"/>
                  <a:gd name="T39" fmla="*/ 14 h 142"/>
                  <a:gd name="T40" fmla="*/ 42 w 141"/>
                  <a:gd name="T41" fmla="*/ 13 h 142"/>
                  <a:gd name="T42" fmla="*/ 49 w 141"/>
                  <a:gd name="T43" fmla="*/ 10 h 142"/>
                  <a:gd name="T44" fmla="*/ 54 w 141"/>
                  <a:gd name="T45" fmla="*/ 2 h 142"/>
                  <a:gd name="T46" fmla="*/ 66 w 141"/>
                  <a:gd name="T47" fmla="*/ 7 h 142"/>
                  <a:gd name="T48" fmla="*/ 73 w 141"/>
                  <a:gd name="T49" fmla="*/ 0 h 142"/>
                  <a:gd name="T50" fmla="*/ 79 w 141"/>
                  <a:gd name="T51" fmla="*/ 7 h 142"/>
                  <a:gd name="T52" fmla="*/ 87 w 141"/>
                  <a:gd name="T53" fmla="*/ 9 h 142"/>
                  <a:gd name="T54" fmla="*/ 100 w 141"/>
                  <a:gd name="T55" fmla="*/ 7 h 142"/>
                  <a:gd name="T56" fmla="*/ 103 w 141"/>
                  <a:gd name="T57" fmla="*/ 16 h 142"/>
                  <a:gd name="T58" fmla="*/ 109 w 141"/>
                  <a:gd name="T59" fmla="*/ 20 h 142"/>
                  <a:gd name="T60" fmla="*/ 122 w 141"/>
                  <a:gd name="T61" fmla="*/ 23 h 142"/>
                  <a:gd name="T62" fmla="*/ 122 w 141"/>
                  <a:gd name="T63" fmla="*/ 32 h 142"/>
                  <a:gd name="T64" fmla="*/ 126 w 141"/>
                  <a:gd name="T65" fmla="*/ 39 h 142"/>
                  <a:gd name="T66" fmla="*/ 137 w 141"/>
                  <a:gd name="T67" fmla="*/ 47 h 142"/>
                  <a:gd name="T68" fmla="*/ 133 w 141"/>
                  <a:gd name="T69" fmla="*/ 55 h 142"/>
                  <a:gd name="T70" fmla="*/ 134 w 141"/>
                  <a:gd name="T71" fmla="*/ 62 h 142"/>
                  <a:gd name="T72" fmla="*/ 141 w 141"/>
                  <a:gd name="T73" fmla="*/ 71 h 142"/>
                  <a:gd name="T74" fmla="*/ 134 w 141"/>
                  <a:gd name="T75" fmla="*/ 80 h 142"/>
                  <a:gd name="T76" fmla="*/ 133 w 141"/>
                  <a:gd name="T77" fmla="*/ 87 h 142"/>
                  <a:gd name="T78" fmla="*/ 137 w 141"/>
                  <a:gd name="T79" fmla="*/ 95 h 142"/>
                  <a:gd name="T80" fmla="*/ 126 w 141"/>
                  <a:gd name="T81" fmla="*/ 103 h 142"/>
                  <a:gd name="T82" fmla="*/ 122 w 141"/>
                  <a:gd name="T83" fmla="*/ 110 h 142"/>
                  <a:gd name="T84" fmla="*/ 122 w 141"/>
                  <a:gd name="T85" fmla="*/ 119 h 142"/>
                  <a:gd name="T86" fmla="*/ 109 w 141"/>
                  <a:gd name="T87" fmla="*/ 122 h 142"/>
                  <a:gd name="T88" fmla="*/ 103 w 141"/>
                  <a:gd name="T89" fmla="*/ 126 h 142"/>
                  <a:gd name="T90" fmla="*/ 100 w 141"/>
                  <a:gd name="T91" fmla="*/ 135 h 142"/>
                  <a:gd name="T92" fmla="*/ 87 w 141"/>
                  <a:gd name="T93" fmla="*/ 133 h 142"/>
                  <a:gd name="T94" fmla="*/ 79 w 141"/>
                  <a:gd name="T95" fmla="*/ 135 h 142"/>
                  <a:gd name="T96" fmla="*/ 73 w 141"/>
                  <a:gd name="T9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1" h="142">
                    <a:moveTo>
                      <a:pt x="70" y="142"/>
                    </a:moveTo>
                    <a:cubicBezTo>
                      <a:pt x="69" y="142"/>
                      <a:pt x="68" y="142"/>
                      <a:pt x="67" y="142"/>
                    </a:cubicBezTo>
                    <a:cubicBezTo>
                      <a:pt x="67" y="135"/>
                      <a:pt x="67" y="135"/>
                      <a:pt x="67" y="135"/>
                    </a:cubicBezTo>
                    <a:cubicBezTo>
                      <a:pt x="66" y="135"/>
                      <a:pt x="66" y="135"/>
                      <a:pt x="66" y="135"/>
                    </a:cubicBezTo>
                    <a:cubicBezTo>
                      <a:pt x="65" y="135"/>
                      <a:pt x="63" y="135"/>
                      <a:pt x="62" y="135"/>
                    </a:cubicBezTo>
                    <a:cubicBezTo>
                      <a:pt x="61" y="135"/>
                      <a:pt x="61" y="135"/>
                      <a:pt x="61" y="135"/>
                    </a:cubicBezTo>
                    <a:cubicBezTo>
                      <a:pt x="60" y="141"/>
                      <a:pt x="60" y="141"/>
                      <a:pt x="60" y="141"/>
                    </a:cubicBezTo>
                    <a:cubicBezTo>
                      <a:pt x="58" y="141"/>
                      <a:pt x="56" y="140"/>
                      <a:pt x="54" y="140"/>
                    </a:cubicBezTo>
                    <a:cubicBezTo>
                      <a:pt x="54" y="133"/>
                      <a:pt x="54" y="133"/>
                      <a:pt x="54" y="133"/>
                    </a:cubicBezTo>
                    <a:cubicBezTo>
                      <a:pt x="54" y="133"/>
                      <a:pt x="54" y="133"/>
                      <a:pt x="54" y="133"/>
                    </a:cubicBezTo>
                    <a:cubicBezTo>
                      <a:pt x="52" y="133"/>
                      <a:pt x="51" y="132"/>
                      <a:pt x="50" y="132"/>
                    </a:cubicBezTo>
                    <a:cubicBezTo>
                      <a:pt x="49" y="132"/>
                      <a:pt x="49" y="132"/>
                      <a:pt x="49" y="132"/>
                    </a:cubicBezTo>
                    <a:cubicBezTo>
                      <a:pt x="46" y="137"/>
                      <a:pt x="46" y="137"/>
                      <a:pt x="46" y="137"/>
                    </a:cubicBezTo>
                    <a:cubicBezTo>
                      <a:pt x="44" y="137"/>
                      <a:pt x="42" y="136"/>
                      <a:pt x="41" y="135"/>
                    </a:cubicBezTo>
                    <a:cubicBezTo>
                      <a:pt x="42" y="129"/>
                      <a:pt x="42" y="129"/>
                      <a:pt x="42" y="129"/>
                    </a:cubicBezTo>
                    <a:cubicBezTo>
                      <a:pt x="42" y="129"/>
                      <a:pt x="42" y="129"/>
                      <a:pt x="42" y="129"/>
                    </a:cubicBezTo>
                    <a:cubicBezTo>
                      <a:pt x="41" y="128"/>
                      <a:pt x="39" y="127"/>
                      <a:pt x="38" y="127"/>
                    </a:cubicBezTo>
                    <a:cubicBezTo>
                      <a:pt x="38" y="126"/>
                      <a:pt x="38" y="126"/>
                      <a:pt x="38" y="126"/>
                    </a:cubicBezTo>
                    <a:cubicBezTo>
                      <a:pt x="34" y="131"/>
                      <a:pt x="34" y="131"/>
                      <a:pt x="34" y="131"/>
                    </a:cubicBezTo>
                    <a:cubicBezTo>
                      <a:pt x="32" y="130"/>
                      <a:pt x="30" y="129"/>
                      <a:pt x="29" y="128"/>
                    </a:cubicBezTo>
                    <a:cubicBezTo>
                      <a:pt x="32" y="122"/>
                      <a:pt x="32" y="122"/>
                      <a:pt x="32" y="122"/>
                    </a:cubicBezTo>
                    <a:cubicBezTo>
                      <a:pt x="31" y="122"/>
                      <a:pt x="31" y="122"/>
                      <a:pt x="31" y="122"/>
                    </a:cubicBezTo>
                    <a:cubicBezTo>
                      <a:pt x="30" y="121"/>
                      <a:pt x="29" y="120"/>
                      <a:pt x="28" y="119"/>
                    </a:cubicBezTo>
                    <a:cubicBezTo>
                      <a:pt x="28" y="119"/>
                      <a:pt x="28" y="119"/>
                      <a:pt x="28" y="119"/>
                    </a:cubicBezTo>
                    <a:cubicBezTo>
                      <a:pt x="23" y="123"/>
                      <a:pt x="23" y="123"/>
                      <a:pt x="23" y="123"/>
                    </a:cubicBezTo>
                    <a:cubicBezTo>
                      <a:pt x="21" y="122"/>
                      <a:pt x="20" y="120"/>
                      <a:pt x="18" y="119"/>
                    </a:cubicBezTo>
                    <a:cubicBezTo>
                      <a:pt x="22" y="114"/>
                      <a:pt x="22" y="114"/>
                      <a:pt x="22" y="114"/>
                    </a:cubicBezTo>
                    <a:cubicBezTo>
                      <a:pt x="22" y="114"/>
                      <a:pt x="22" y="114"/>
                      <a:pt x="22" y="114"/>
                    </a:cubicBezTo>
                    <a:cubicBezTo>
                      <a:pt x="21" y="112"/>
                      <a:pt x="20" y="111"/>
                      <a:pt x="19" y="110"/>
                    </a:cubicBezTo>
                    <a:cubicBezTo>
                      <a:pt x="19" y="110"/>
                      <a:pt x="19" y="110"/>
                      <a:pt x="19" y="110"/>
                    </a:cubicBezTo>
                    <a:cubicBezTo>
                      <a:pt x="13" y="113"/>
                      <a:pt x="13" y="113"/>
                      <a:pt x="13" y="113"/>
                    </a:cubicBezTo>
                    <a:cubicBezTo>
                      <a:pt x="12" y="111"/>
                      <a:pt x="11" y="109"/>
                      <a:pt x="10" y="108"/>
                    </a:cubicBezTo>
                    <a:cubicBezTo>
                      <a:pt x="15" y="104"/>
                      <a:pt x="15" y="104"/>
                      <a:pt x="15" y="104"/>
                    </a:cubicBezTo>
                    <a:cubicBezTo>
                      <a:pt x="15" y="103"/>
                      <a:pt x="15" y="103"/>
                      <a:pt x="15" y="103"/>
                    </a:cubicBezTo>
                    <a:cubicBezTo>
                      <a:pt x="14" y="102"/>
                      <a:pt x="13" y="101"/>
                      <a:pt x="13" y="99"/>
                    </a:cubicBezTo>
                    <a:cubicBezTo>
                      <a:pt x="12" y="99"/>
                      <a:pt x="12" y="99"/>
                      <a:pt x="12" y="99"/>
                    </a:cubicBezTo>
                    <a:cubicBezTo>
                      <a:pt x="6" y="101"/>
                      <a:pt x="6" y="101"/>
                      <a:pt x="6" y="101"/>
                    </a:cubicBezTo>
                    <a:cubicBezTo>
                      <a:pt x="5" y="99"/>
                      <a:pt x="5" y="97"/>
                      <a:pt x="4" y="95"/>
                    </a:cubicBezTo>
                    <a:cubicBezTo>
                      <a:pt x="10" y="92"/>
                      <a:pt x="10" y="92"/>
                      <a:pt x="10" y="92"/>
                    </a:cubicBezTo>
                    <a:cubicBezTo>
                      <a:pt x="10" y="92"/>
                      <a:pt x="10" y="92"/>
                      <a:pt x="10" y="92"/>
                    </a:cubicBezTo>
                    <a:cubicBezTo>
                      <a:pt x="9" y="90"/>
                      <a:pt x="9" y="89"/>
                      <a:pt x="8" y="88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2" y="88"/>
                      <a:pt x="2" y="88"/>
                      <a:pt x="2" y="88"/>
                    </a:cubicBezTo>
                    <a:cubicBezTo>
                      <a:pt x="1" y="86"/>
                      <a:pt x="1" y="84"/>
                      <a:pt x="1" y="82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6" y="78"/>
                      <a:pt x="6" y="77"/>
                      <a:pt x="6" y="75"/>
                    </a:cubicBezTo>
                    <a:cubicBezTo>
                      <a:pt x="6" y="75"/>
                      <a:pt x="6" y="75"/>
                      <a:pt x="6" y="7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3"/>
                      <a:pt x="0" y="72"/>
                      <a:pt x="0" y="71"/>
                    </a:cubicBezTo>
                    <a:cubicBezTo>
                      <a:pt x="0" y="70"/>
                      <a:pt x="0" y="69"/>
                      <a:pt x="0" y="68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6" y="67"/>
                      <a:pt x="6" y="67"/>
                      <a:pt x="6" y="67"/>
                    </a:cubicBezTo>
                    <a:cubicBezTo>
                      <a:pt x="6" y="65"/>
                      <a:pt x="6" y="64"/>
                      <a:pt x="7" y="62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1" y="60"/>
                      <a:pt x="1" y="60"/>
                      <a:pt x="1" y="60"/>
                    </a:cubicBezTo>
                    <a:cubicBezTo>
                      <a:pt x="1" y="58"/>
                      <a:pt x="1" y="56"/>
                      <a:pt x="2" y="54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8" y="54"/>
                      <a:pt x="8" y="54"/>
                      <a:pt x="8" y="54"/>
                    </a:cubicBezTo>
                    <a:cubicBezTo>
                      <a:pt x="9" y="53"/>
                      <a:pt x="9" y="52"/>
                      <a:pt x="10" y="50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4" y="47"/>
                      <a:pt x="4" y="47"/>
                      <a:pt x="4" y="47"/>
                    </a:cubicBezTo>
                    <a:cubicBezTo>
                      <a:pt x="5" y="45"/>
                      <a:pt x="5" y="43"/>
                      <a:pt x="6" y="41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41"/>
                      <a:pt x="14" y="40"/>
                      <a:pt x="15" y="39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11" y="33"/>
                      <a:pt x="12" y="31"/>
                      <a:pt x="13" y="29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1"/>
                      <a:pt x="21" y="30"/>
                      <a:pt x="22" y="29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2"/>
                      <a:pt x="21" y="20"/>
                      <a:pt x="23" y="19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8" y="23"/>
                      <a:pt x="28" y="23"/>
                      <a:pt x="28" y="23"/>
                    </a:cubicBezTo>
                    <a:cubicBezTo>
                      <a:pt x="29" y="22"/>
                      <a:pt x="30" y="21"/>
                      <a:pt x="31" y="20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29" y="14"/>
                      <a:pt x="29" y="14"/>
                      <a:pt x="29" y="14"/>
                    </a:cubicBezTo>
                    <a:cubicBezTo>
                      <a:pt x="30" y="13"/>
                      <a:pt x="32" y="12"/>
                      <a:pt x="34" y="11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9" y="15"/>
                      <a:pt x="41" y="14"/>
                      <a:pt x="42" y="13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41" y="7"/>
                      <a:pt x="41" y="7"/>
                      <a:pt x="41" y="7"/>
                    </a:cubicBezTo>
                    <a:cubicBezTo>
                      <a:pt x="42" y="6"/>
                      <a:pt x="44" y="5"/>
                      <a:pt x="46" y="5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1" y="10"/>
                      <a:pt x="52" y="9"/>
                      <a:pt x="54" y="9"/>
                    </a:cubicBezTo>
                    <a:cubicBezTo>
                      <a:pt x="54" y="9"/>
                      <a:pt x="54" y="9"/>
                      <a:pt x="54" y="9"/>
                    </a:cubicBezTo>
                    <a:cubicBezTo>
                      <a:pt x="54" y="2"/>
                      <a:pt x="54" y="2"/>
                      <a:pt x="54" y="2"/>
                    </a:cubicBezTo>
                    <a:cubicBezTo>
                      <a:pt x="56" y="2"/>
                      <a:pt x="58" y="1"/>
                      <a:pt x="60" y="1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62" y="7"/>
                      <a:pt x="62" y="7"/>
                      <a:pt x="62" y="7"/>
                    </a:cubicBezTo>
                    <a:cubicBezTo>
                      <a:pt x="63" y="7"/>
                      <a:pt x="65" y="7"/>
                      <a:pt x="66" y="7"/>
                    </a:cubicBezTo>
                    <a:cubicBezTo>
                      <a:pt x="67" y="7"/>
                      <a:pt x="67" y="7"/>
                      <a:pt x="67" y="7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8" y="0"/>
                      <a:pt x="69" y="0"/>
                      <a:pt x="70" y="0"/>
                    </a:cubicBezTo>
                    <a:cubicBezTo>
                      <a:pt x="71" y="0"/>
                      <a:pt x="72" y="0"/>
                      <a:pt x="73" y="0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6" y="7"/>
                      <a:pt x="77" y="7"/>
                      <a:pt x="79" y="7"/>
                    </a:cubicBezTo>
                    <a:cubicBezTo>
                      <a:pt x="79" y="7"/>
                      <a:pt x="79" y="7"/>
                      <a:pt x="79" y="7"/>
                    </a:cubicBezTo>
                    <a:cubicBezTo>
                      <a:pt x="81" y="1"/>
                      <a:pt x="81" y="1"/>
                      <a:pt x="81" y="1"/>
                    </a:cubicBezTo>
                    <a:cubicBezTo>
                      <a:pt x="83" y="1"/>
                      <a:pt x="85" y="2"/>
                      <a:pt x="87" y="2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8" y="9"/>
                      <a:pt x="90" y="10"/>
                      <a:pt x="91" y="10"/>
                    </a:cubicBezTo>
                    <a:cubicBezTo>
                      <a:pt x="92" y="10"/>
                      <a:pt x="92" y="10"/>
                      <a:pt x="92" y="10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6" y="5"/>
                      <a:pt x="98" y="6"/>
                      <a:pt x="100" y="7"/>
                    </a:cubicBezTo>
                    <a:cubicBezTo>
                      <a:pt x="98" y="13"/>
                      <a:pt x="98" y="13"/>
                      <a:pt x="98" y="13"/>
                    </a:cubicBezTo>
                    <a:cubicBezTo>
                      <a:pt x="99" y="13"/>
                      <a:pt x="99" y="13"/>
                      <a:pt x="99" y="13"/>
                    </a:cubicBezTo>
                    <a:cubicBezTo>
                      <a:pt x="100" y="14"/>
                      <a:pt x="101" y="15"/>
                      <a:pt x="103" y="15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107" y="11"/>
                      <a:pt x="107" y="11"/>
                      <a:pt x="107" y="11"/>
                    </a:cubicBezTo>
                    <a:cubicBezTo>
                      <a:pt x="109" y="12"/>
                      <a:pt x="111" y="13"/>
                      <a:pt x="112" y="14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09" y="20"/>
                      <a:pt x="109" y="20"/>
                      <a:pt x="109" y="20"/>
                    </a:cubicBezTo>
                    <a:cubicBezTo>
                      <a:pt x="111" y="21"/>
                      <a:pt x="112" y="22"/>
                      <a:pt x="113" y="23"/>
                    </a:cubicBezTo>
                    <a:cubicBezTo>
                      <a:pt x="113" y="23"/>
                      <a:pt x="113" y="23"/>
                      <a:pt x="113" y="23"/>
                    </a:cubicBezTo>
                    <a:cubicBezTo>
                      <a:pt x="118" y="19"/>
                      <a:pt x="118" y="19"/>
                      <a:pt x="118" y="19"/>
                    </a:cubicBezTo>
                    <a:cubicBezTo>
                      <a:pt x="120" y="20"/>
                      <a:pt x="121" y="22"/>
                      <a:pt x="122" y="23"/>
                    </a:cubicBezTo>
                    <a:cubicBezTo>
                      <a:pt x="118" y="28"/>
                      <a:pt x="118" y="28"/>
                      <a:pt x="118" y="28"/>
                    </a:cubicBezTo>
                    <a:cubicBezTo>
                      <a:pt x="119" y="29"/>
                      <a:pt x="119" y="29"/>
                      <a:pt x="119" y="29"/>
                    </a:cubicBezTo>
                    <a:cubicBezTo>
                      <a:pt x="120" y="30"/>
                      <a:pt x="121" y="31"/>
                      <a:pt x="121" y="32"/>
                    </a:cubicBezTo>
                    <a:cubicBezTo>
                      <a:pt x="122" y="32"/>
                      <a:pt x="122" y="32"/>
                      <a:pt x="122" y="32"/>
                    </a:cubicBezTo>
                    <a:cubicBezTo>
                      <a:pt x="127" y="29"/>
                      <a:pt x="127" y="29"/>
                      <a:pt x="127" y="29"/>
                    </a:cubicBezTo>
                    <a:cubicBezTo>
                      <a:pt x="129" y="31"/>
                      <a:pt x="130" y="33"/>
                      <a:pt x="131" y="34"/>
                    </a:cubicBezTo>
                    <a:cubicBezTo>
                      <a:pt x="126" y="38"/>
                      <a:pt x="126" y="38"/>
                      <a:pt x="126" y="38"/>
                    </a:cubicBezTo>
                    <a:cubicBezTo>
                      <a:pt x="126" y="39"/>
                      <a:pt x="126" y="39"/>
                      <a:pt x="126" y="39"/>
                    </a:cubicBezTo>
                    <a:cubicBezTo>
                      <a:pt x="127" y="40"/>
                      <a:pt x="128" y="41"/>
                      <a:pt x="128" y="43"/>
                    </a:cubicBezTo>
                    <a:cubicBezTo>
                      <a:pt x="128" y="43"/>
                      <a:pt x="128" y="43"/>
                      <a:pt x="128" y="43"/>
                    </a:cubicBezTo>
                    <a:cubicBezTo>
                      <a:pt x="134" y="41"/>
                      <a:pt x="134" y="41"/>
                      <a:pt x="134" y="41"/>
                    </a:cubicBezTo>
                    <a:cubicBezTo>
                      <a:pt x="135" y="43"/>
                      <a:pt x="136" y="45"/>
                      <a:pt x="137" y="47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1" y="50"/>
                      <a:pt x="131" y="50"/>
                      <a:pt x="131" y="50"/>
                    </a:cubicBezTo>
                    <a:cubicBezTo>
                      <a:pt x="132" y="52"/>
                      <a:pt x="132" y="53"/>
                      <a:pt x="133" y="54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9" y="54"/>
                      <a:pt x="139" y="54"/>
                      <a:pt x="139" y="54"/>
                    </a:cubicBezTo>
                    <a:cubicBezTo>
                      <a:pt x="140" y="56"/>
                      <a:pt x="140" y="58"/>
                      <a:pt x="140" y="60"/>
                    </a:cubicBezTo>
                    <a:cubicBezTo>
                      <a:pt x="134" y="62"/>
                      <a:pt x="134" y="62"/>
                      <a:pt x="134" y="62"/>
                    </a:cubicBezTo>
                    <a:cubicBezTo>
                      <a:pt x="134" y="62"/>
                      <a:pt x="134" y="62"/>
                      <a:pt x="134" y="62"/>
                    </a:cubicBezTo>
                    <a:cubicBezTo>
                      <a:pt x="134" y="64"/>
                      <a:pt x="134" y="65"/>
                      <a:pt x="135" y="67"/>
                    </a:cubicBezTo>
                    <a:cubicBezTo>
                      <a:pt x="135" y="67"/>
                      <a:pt x="135" y="67"/>
                      <a:pt x="135" y="67"/>
                    </a:cubicBezTo>
                    <a:cubicBezTo>
                      <a:pt x="141" y="68"/>
                      <a:pt x="141" y="68"/>
                      <a:pt x="141" y="68"/>
                    </a:cubicBezTo>
                    <a:cubicBezTo>
                      <a:pt x="141" y="69"/>
                      <a:pt x="141" y="70"/>
                      <a:pt x="141" y="71"/>
                    </a:cubicBezTo>
                    <a:cubicBezTo>
                      <a:pt x="141" y="72"/>
                      <a:pt x="141" y="73"/>
                      <a:pt x="141" y="74"/>
                    </a:cubicBezTo>
                    <a:cubicBezTo>
                      <a:pt x="135" y="75"/>
                      <a:pt x="135" y="75"/>
                      <a:pt x="135" y="75"/>
                    </a:cubicBezTo>
                    <a:cubicBezTo>
                      <a:pt x="135" y="75"/>
                      <a:pt x="135" y="75"/>
                      <a:pt x="135" y="75"/>
                    </a:cubicBezTo>
                    <a:cubicBezTo>
                      <a:pt x="134" y="77"/>
                      <a:pt x="134" y="78"/>
                      <a:pt x="134" y="80"/>
                    </a:cubicBezTo>
                    <a:cubicBezTo>
                      <a:pt x="134" y="80"/>
                      <a:pt x="134" y="80"/>
                      <a:pt x="134" y="80"/>
                    </a:cubicBezTo>
                    <a:cubicBezTo>
                      <a:pt x="140" y="82"/>
                      <a:pt x="140" y="82"/>
                      <a:pt x="140" y="82"/>
                    </a:cubicBezTo>
                    <a:cubicBezTo>
                      <a:pt x="140" y="84"/>
                      <a:pt x="140" y="86"/>
                      <a:pt x="139" y="88"/>
                    </a:cubicBezTo>
                    <a:cubicBezTo>
                      <a:pt x="133" y="87"/>
                      <a:pt x="133" y="87"/>
                      <a:pt x="133" y="87"/>
                    </a:cubicBezTo>
                    <a:cubicBezTo>
                      <a:pt x="133" y="88"/>
                      <a:pt x="133" y="88"/>
                      <a:pt x="133" y="88"/>
                    </a:cubicBezTo>
                    <a:cubicBezTo>
                      <a:pt x="132" y="89"/>
                      <a:pt x="132" y="90"/>
                      <a:pt x="131" y="92"/>
                    </a:cubicBezTo>
                    <a:cubicBezTo>
                      <a:pt x="131" y="92"/>
                      <a:pt x="131" y="92"/>
                      <a:pt x="131" y="92"/>
                    </a:cubicBezTo>
                    <a:cubicBezTo>
                      <a:pt x="137" y="95"/>
                      <a:pt x="137" y="95"/>
                      <a:pt x="137" y="95"/>
                    </a:cubicBezTo>
                    <a:cubicBezTo>
                      <a:pt x="136" y="97"/>
                      <a:pt x="135" y="99"/>
                      <a:pt x="134" y="101"/>
                    </a:cubicBezTo>
                    <a:cubicBezTo>
                      <a:pt x="128" y="99"/>
                      <a:pt x="128" y="99"/>
                      <a:pt x="128" y="99"/>
                    </a:cubicBezTo>
                    <a:cubicBezTo>
                      <a:pt x="128" y="99"/>
                      <a:pt x="128" y="99"/>
                      <a:pt x="128" y="99"/>
                    </a:cubicBezTo>
                    <a:cubicBezTo>
                      <a:pt x="128" y="101"/>
                      <a:pt x="127" y="102"/>
                      <a:pt x="126" y="103"/>
                    </a:cubicBezTo>
                    <a:cubicBezTo>
                      <a:pt x="126" y="104"/>
                      <a:pt x="126" y="104"/>
                      <a:pt x="126" y="104"/>
                    </a:cubicBezTo>
                    <a:cubicBezTo>
                      <a:pt x="131" y="108"/>
                      <a:pt x="131" y="108"/>
                      <a:pt x="131" y="108"/>
                    </a:cubicBezTo>
                    <a:cubicBezTo>
                      <a:pt x="130" y="109"/>
                      <a:pt x="129" y="111"/>
                      <a:pt x="127" y="113"/>
                    </a:cubicBezTo>
                    <a:cubicBezTo>
                      <a:pt x="122" y="110"/>
                      <a:pt x="122" y="110"/>
                      <a:pt x="122" y="110"/>
                    </a:cubicBezTo>
                    <a:cubicBezTo>
                      <a:pt x="121" y="110"/>
                      <a:pt x="121" y="110"/>
                      <a:pt x="121" y="110"/>
                    </a:cubicBezTo>
                    <a:cubicBezTo>
                      <a:pt x="121" y="111"/>
                      <a:pt x="120" y="112"/>
                      <a:pt x="119" y="114"/>
                    </a:cubicBezTo>
                    <a:cubicBezTo>
                      <a:pt x="118" y="114"/>
                      <a:pt x="118" y="114"/>
                      <a:pt x="118" y="114"/>
                    </a:cubicBezTo>
                    <a:cubicBezTo>
                      <a:pt x="122" y="119"/>
                      <a:pt x="122" y="119"/>
                      <a:pt x="122" y="119"/>
                    </a:cubicBezTo>
                    <a:cubicBezTo>
                      <a:pt x="121" y="120"/>
                      <a:pt x="120" y="122"/>
                      <a:pt x="118" y="123"/>
                    </a:cubicBezTo>
                    <a:cubicBezTo>
                      <a:pt x="113" y="119"/>
                      <a:pt x="113" y="119"/>
                      <a:pt x="113" y="119"/>
                    </a:cubicBezTo>
                    <a:cubicBezTo>
                      <a:pt x="113" y="119"/>
                      <a:pt x="113" y="119"/>
                      <a:pt x="113" y="119"/>
                    </a:cubicBezTo>
                    <a:cubicBezTo>
                      <a:pt x="112" y="120"/>
                      <a:pt x="111" y="121"/>
                      <a:pt x="109" y="122"/>
                    </a:cubicBezTo>
                    <a:cubicBezTo>
                      <a:pt x="109" y="122"/>
                      <a:pt x="109" y="122"/>
                      <a:pt x="109" y="122"/>
                    </a:cubicBezTo>
                    <a:cubicBezTo>
                      <a:pt x="112" y="128"/>
                      <a:pt x="112" y="128"/>
                      <a:pt x="112" y="128"/>
                    </a:cubicBezTo>
                    <a:cubicBezTo>
                      <a:pt x="111" y="129"/>
                      <a:pt x="109" y="130"/>
                      <a:pt x="107" y="131"/>
                    </a:cubicBezTo>
                    <a:cubicBezTo>
                      <a:pt x="103" y="126"/>
                      <a:pt x="103" y="126"/>
                      <a:pt x="103" y="126"/>
                    </a:cubicBezTo>
                    <a:cubicBezTo>
                      <a:pt x="103" y="127"/>
                      <a:pt x="103" y="127"/>
                      <a:pt x="103" y="127"/>
                    </a:cubicBezTo>
                    <a:cubicBezTo>
                      <a:pt x="101" y="127"/>
                      <a:pt x="100" y="128"/>
                      <a:pt x="99" y="129"/>
                    </a:cubicBezTo>
                    <a:cubicBezTo>
                      <a:pt x="98" y="129"/>
                      <a:pt x="98" y="129"/>
                      <a:pt x="98" y="129"/>
                    </a:cubicBezTo>
                    <a:cubicBezTo>
                      <a:pt x="100" y="135"/>
                      <a:pt x="100" y="135"/>
                      <a:pt x="100" y="135"/>
                    </a:cubicBezTo>
                    <a:cubicBezTo>
                      <a:pt x="98" y="136"/>
                      <a:pt x="96" y="137"/>
                      <a:pt x="95" y="137"/>
                    </a:cubicBezTo>
                    <a:cubicBezTo>
                      <a:pt x="92" y="132"/>
                      <a:pt x="92" y="132"/>
                      <a:pt x="92" y="132"/>
                    </a:cubicBezTo>
                    <a:cubicBezTo>
                      <a:pt x="91" y="132"/>
                      <a:pt x="91" y="132"/>
                      <a:pt x="91" y="132"/>
                    </a:cubicBezTo>
                    <a:cubicBezTo>
                      <a:pt x="90" y="132"/>
                      <a:pt x="88" y="133"/>
                      <a:pt x="87" y="133"/>
                    </a:cubicBezTo>
                    <a:cubicBezTo>
                      <a:pt x="87" y="133"/>
                      <a:pt x="87" y="133"/>
                      <a:pt x="87" y="133"/>
                    </a:cubicBezTo>
                    <a:cubicBezTo>
                      <a:pt x="87" y="140"/>
                      <a:pt x="87" y="140"/>
                      <a:pt x="87" y="140"/>
                    </a:cubicBezTo>
                    <a:cubicBezTo>
                      <a:pt x="85" y="140"/>
                      <a:pt x="83" y="141"/>
                      <a:pt x="81" y="141"/>
                    </a:cubicBezTo>
                    <a:cubicBezTo>
                      <a:pt x="79" y="135"/>
                      <a:pt x="79" y="135"/>
                      <a:pt x="79" y="135"/>
                    </a:cubicBezTo>
                    <a:cubicBezTo>
                      <a:pt x="79" y="135"/>
                      <a:pt x="79" y="135"/>
                      <a:pt x="79" y="135"/>
                    </a:cubicBezTo>
                    <a:cubicBezTo>
                      <a:pt x="77" y="135"/>
                      <a:pt x="76" y="135"/>
                      <a:pt x="74" y="135"/>
                    </a:cubicBezTo>
                    <a:cubicBezTo>
                      <a:pt x="74" y="135"/>
                      <a:pt x="74" y="135"/>
                      <a:pt x="74" y="135"/>
                    </a:cubicBezTo>
                    <a:cubicBezTo>
                      <a:pt x="73" y="142"/>
                      <a:pt x="73" y="142"/>
                      <a:pt x="73" y="142"/>
                    </a:cubicBezTo>
                    <a:cubicBezTo>
                      <a:pt x="72" y="142"/>
                      <a:pt x="71" y="142"/>
                      <a:pt x="70" y="142"/>
                    </a:cubicBezTo>
                    <a:close/>
                  </a:path>
                </a:pathLst>
              </a:custGeom>
              <a:solidFill>
                <a:srgbClr val="E2583D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Rectangle 59"/>
              <p:cNvSpPr/>
              <p:nvPr/>
            </p:nvSpPr>
            <p:spPr>
              <a:xfrm>
                <a:off x="4638521" y="3666805"/>
                <a:ext cx="569761" cy="496389"/>
              </a:xfrm>
              <a:prstGeom prst="rect">
                <a:avLst/>
              </a:prstGeom>
              <a:solidFill>
                <a:srgbClr val="E2583D"/>
              </a:solidFill>
              <a:ln>
                <a:solidFill>
                  <a:srgbClr val="E2583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sp>
          <p:nvSpPr>
            <p:cNvPr id="67" name="Rectangle 66"/>
            <p:cNvSpPr/>
            <p:nvPr>
              <p:custDataLst>
                <p:tags r:id="rId2"/>
              </p:custDataLst>
            </p:nvPr>
          </p:nvSpPr>
          <p:spPr>
            <a:xfrm>
              <a:off x="4358507" y="3485958"/>
              <a:ext cx="1152000" cy="788507"/>
            </a:xfrm>
            <a:prstGeom prst="rect">
              <a:avLst/>
            </a:prstGeom>
            <a:effectLst/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2400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Support </a:t>
              </a:r>
            </a:p>
            <a:p>
              <a:pPr algn="ctr"/>
              <a:r>
                <a:rPr lang="en-US" sz="2400" dirty="0" smtClean="0">
                  <a:latin typeface="Segoe UI" panose="020B0502040204020203" pitchFamily="34" charset="0"/>
                  <a:cs typeface="Segoe UI" panose="020B0502040204020203" pitchFamily="34" charset="0"/>
                </a:rPr>
                <a:t>Infrastructure</a:t>
              </a:r>
              <a:endParaRPr lang="en-US" sz="2400" dirty="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0" name="Rectangle 69"/>
          <p:cNvSpPr/>
          <p:nvPr>
            <p:custDataLst>
              <p:tags r:id="rId1"/>
            </p:custDataLst>
          </p:nvPr>
        </p:nvSpPr>
        <p:spPr>
          <a:xfrm>
            <a:off x="7294240" y="3399197"/>
            <a:ext cx="2260434" cy="830997"/>
          </a:xfrm>
          <a:prstGeom prst="rect">
            <a:avLst/>
          </a:prstGeom>
          <a:effectLst/>
        </p:spPr>
        <p:txBody>
          <a:bodyPr wrap="square" anchor="ctr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ontinuous </a:t>
            </a:r>
          </a:p>
          <a:p>
            <a:pPr algn="ctr"/>
            <a:r>
              <a:rPr lang="en-US" sz="2400" dirty="0" smtClean="0">
                <a:solidFill>
                  <a:schemeClr val="bg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ining</a:t>
            </a:r>
            <a:endParaRPr lang="en-US" sz="2400" dirty="0">
              <a:solidFill>
                <a:schemeClr val="bg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08001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 smtClean="0">
                <a:solidFill>
                  <a:prstClr val="white"/>
                </a:solidFill>
              </a:rPr>
              <a:t>Successful Portal Adoption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  <p:sp>
        <p:nvSpPr>
          <p:cNvPr id="6" name="OTLSHAPE_M_52743de8bb6d4044896f473898fe9da7_Title"/>
          <p:cNvSpPr txBox="1"/>
          <p:nvPr>
            <p:custDataLst>
              <p:tags r:id="rId1"/>
            </p:custDataLst>
          </p:nvPr>
        </p:nvSpPr>
        <p:spPr>
          <a:xfrm>
            <a:off x="217370" y="1298444"/>
            <a:ext cx="11795954" cy="1256089"/>
          </a:xfrm>
          <a:prstGeom prst="roundRect">
            <a:avLst/>
          </a:prstGeom>
          <a:solidFill>
            <a:srgbClr val="000000">
              <a:alpha val="40000"/>
            </a:srgbClr>
          </a:solidFill>
        </p:spPr>
        <p:txBody>
          <a:bodyPr vert="horz" wrap="square" lIns="0" tIns="0" rIns="0" bIns="0" rtlCol="0" anchor="ctr" anchorCtr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2000" spc="-6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nder’s are being processed from around </a:t>
            </a:r>
            <a:r>
              <a:rPr lang="en-US" sz="2000" b="1" u="sng" spc="-6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00 locations </a:t>
            </a:r>
            <a:r>
              <a:rPr lang="en-US" sz="2000" spc="-6" dirty="0" smtClean="0">
                <a:solidFill>
                  <a:schemeClr val="accent3">
                    <a:lumMod val="40000"/>
                    <a:lumOff val="6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IOCL  through NIC e-Tendering Portal.</a:t>
            </a:r>
          </a:p>
          <a:p>
            <a:pPr>
              <a:lnSpc>
                <a:spcPct val="200000"/>
              </a:lnSpc>
            </a:pPr>
            <a:r>
              <a:rPr lang="en-US" sz="2000" spc="-6" dirty="0" smtClean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ome </a:t>
            </a:r>
            <a:r>
              <a:rPr lang="en-US" sz="2000" b="1" u="sng" spc="-6" dirty="0" smtClean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y indicators of successful adoption </a:t>
            </a:r>
            <a:r>
              <a:rPr lang="en-US" sz="2000" spc="-6" dirty="0" smtClean="0">
                <a:solidFill>
                  <a:schemeClr val="tx2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f e-Tendering portal at IOCL are as shown below:</a:t>
            </a:r>
            <a:endParaRPr lang="en-US" sz="2000" spc="-6" dirty="0">
              <a:solidFill>
                <a:schemeClr val="tx2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 rot="5400000">
            <a:off x="9923785" y="924712"/>
            <a:ext cx="410863" cy="3967400"/>
          </a:xfrm>
          <a:prstGeom prst="roundRect">
            <a:avLst>
              <a:gd name="adj" fmla="val 50000"/>
            </a:avLst>
          </a:prstGeom>
          <a:solidFill>
            <a:srgbClr val="F36F21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400" b="1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istered Bidders</a:t>
            </a:r>
          </a:p>
        </p:txBody>
      </p:sp>
      <p:sp>
        <p:nvSpPr>
          <p:cNvPr id="8" name="Oval 7"/>
          <p:cNvSpPr/>
          <p:nvPr/>
        </p:nvSpPr>
        <p:spPr>
          <a:xfrm>
            <a:off x="11319400" y="2617073"/>
            <a:ext cx="807872" cy="582672"/>
          </a:xfrm>
          <a:prstGeom prst="ellipse">
            <a:avLst/>
          </a:prstGeom>
          <a:solidFill>
            <a:srgbClr val="F36F21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 rot="5400000">
            <a:off x="1929971" y="1010915"/>
            <a:ext cx="432000" cy="3780000"/>
          </a:xfrm>
          <a:prstGeom prst="roundRect">
            <a:avLst>
              <a:gd name="adj" fmla="val 50000"/>
            </a:avLst>
          </a:prstGeom>
          <a:solidFill>
            <a:schemeClr val="accent3">
              <a:lumMod val="7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r"/>
            <a:r>
              <a:rPr lang="en-US" sz="2400" b="1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nders Published</a:t>
            </a:r>
            <a:endParaRPr lang="en-US" sz="2400" b="1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val 9"/>
          <p:cNvSpPr/>
          <p:nvPr/>
        </p:nvSpPr>
        <p:spPr>
          <a:xfrm>
            <a:off x="50125" y="2617073"/>
            <a:ext cx="807872" cy="582672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206876" y="2734478"/>
            <a:ext cx="494369" cy="347862"/>
            <a:chOff x="7600950" y="779464"/>
            <a:chExt cx="285751" cy="252411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2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3135"/>
            <p:cNvSpPr>
              <a:spLocks/>
            </p:cNvSpPr>
            <p:nvPr/>
          </p:nvSpPr>
          <p:spPr bwMode="auto">
            <a:xfrm>
              <a:off x="7677151" y="779464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Rounded Rectangle 13"/>
          <p:cNvSpPr/>
          <p:nvPr/>
        </p:nvSpPr>
        <p:spPr>
          <a:xfrm rot="5400000">
            <a:off x="5857074" y="1018411"/>
            <a:ext cx="410863" cy="3780000"/>
          </a:xfrm>
          <a:prstGeom prst="roundRect">
            <a:avLst>
              <a:gd name="adj" fmla="val 50000"/>
            </a:avLst>
          </a:prstGeom>
          <a:solidFill>
            <a:srgbClr val="00B0F0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n-US" sz="2400" b="1" dirty="0" smtClean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ndering Officials</a:t>
            </a:r>
            <a:endParaRPr lang="en-US" sz="2400" b="1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7201029" y="2617073"/>
            <a:ext cx="807872" cy="582672"/>
          </a:xfrm>
          <a:prstGeom prst="ellipse">
            <a:avLst/>
          </a:prstGeom>
          <a:solidFill>
            <a:srgbClr val="00B0F0"/>
          </a:solidFill>
          <a:ln w="28575">
            <a:solidFill>
              <a:schemeClr val="bg1"/>
            </a:solidFill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1476152" y="2734478"/>
            <a:ext cx="494369" cy="347862"/>
            <a:chOff x="7600950" y="779464"/>
            <a:chExt cx="285750" cy="252411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17" name="Freeform 3135"/>
            <p:cNvSpPr>
              <a:spLocks/>
            </p:cNvSpPr>
            <p:nvPr/>
          </p:nvSpPr>
          <p:spPr bwMode="auto">
            <a:xfrm>
              <a:off x="7677150" y="779464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7357781" y="2734478"/>
            <a:ext cx="494369" cy="347862"/>
            <a:chOff x="7600950" y="779464"/>
            <a:chExt cx="285750" cy="252411"/>
          </a:xfrm>
          <a:solidFill>
            <a:schemeClr val="bg1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20" name="Freeform 3135"/>
            <p:cNvSpPr>
              <a:spLocks/>
            </p:cNvSpPr>
            <p:nvPr/>
          </p:nvSpPr>
          <p:spPr bwMode="auto">
            <a:xfrm>
              <a:off x="7677150" y="779464"/>
              <a:ext cx="209550" cy="242888"/>
            </a:xfrm>
            <a:custGeom>
              <a:avLst/>
              <a:gdLst>
                <a:gd name="T0" fmla="*/ 526 w 527"/>
                <a:gd name="T1" fmla="*/ 282 h 612"/>
                <a:gd name="T2" fmla="*/ 523 w 527"/>
                <a:gd name="T3" fmla="*/ 270 h 612"/>
                <a:gd name="T4" fmla="*/ 516 w 527"/>
                <a:gd name="T5" fmla="*/ 255 h 612"/>
                <a:gd name="T6" fmla="*/ 500 w 527"/>
                <a:gd name="T7" fmla="*/ 240 h 612"/>
                <a:gd name="T8" fmla="*/ 484 w 527"/>
                <a:gd name="T9" fmla="*/ 231 h 612"/>
                <a:gd name="T10" fmla="*/ 472 w 527"/>
                <a:gd name="T11" fmla="*/ 229 h 612"/>
                <a:gd name="T12" fmla="*/ 244 w 527"/>
                <a:gd name="T13" fmla="*/ 229 h 612"/>
                <a:gd name="T14" fmla="*/ 256 w 527"/>
                <a:gd name="T15" fmla="*/ 196 h 612"/>
                <a:gd name="T16" fmla="*/ 267 w 527"/>
                <a:gd name="T17" fmla="*/ 154 h 612"/>
                <a:gd name="T18" fmla="*/ 273 w 527"/>
                <a:gd name="T19" fmla="*/ 110 h 612"/>
                <a:gd name="T20" fmla="*/ 273 w 527"/>
                <a:gd name="T21" fmla="*/ 90 h 612"/>
                <a:gd name="T22" fmla="*/ 269 w 527"/>
                <a:gd name="T23" fmla="*/ 71 h 612"/>
                <a:gd name="T24" fmla="*/ 262 w 527"/>
                <a:gd name="T25" fmla="*/ 49 h 612"/>
                <a:gd name="T26" fmla="*/ 252 w 527"/>
                <a:gd name="T27" fmla="*/ 33 h 612"/>
                <a:gd name="T28" fmla="*/ 243 w 527"/>
                <a:gd name="T29" fmla="*/ 21 h 612"/>
                <a:gd name="T30" fmla="*/ 233 w 527"/>
                <a:gd name="T31" fmla="*/ 11 h 612"/>
                <a:gd name="T32" fmla="*/ 215 w 527"/>
                <a:gd name="T33" fmla="*/ 3 h 612"/>
                <a:gd name="T34" fmla="*/ 202 w 527"/>
                <a:gd name="T35" fmla="*/ 0 h 612"/>
                <a:gd name="T36" fmla="*/ 184 w 527"/>
                <a:gd name="T37" fmla="*/ 5 h 612"/>
                <a:gd name="T38" fmla="*/ 169 w 527"/>
                <a:gd name="T39" fmla="*/ 16 h 612"/>
                <a:gd name="T40" fmla="*/ 159 w 527"/>
                <a:gd name="T41" fmla="*/ 33 h 612"/>
                <a:gd name="T42" fmla="*/ 155 w 527"/>
                <a:gd name="T43" fmla="*/ 53 h 612"/>
                <a:gd name="T44" fmla="*/ 151 w 527"/>
                <a:gd name="T45" fmla="*/ 90 h 612"/>
                <a:gd name="T46" fmla="*/ 140 w 527"/>
                <a:gd name="T47" fmla="*/ 127 h 612"/>
                <a:gd name="T48" fmla="*/ 124 w 527"/>
                <a:gd name="T49" fmla="*/ 162 h 612"/>
                <a:gd name="T50" fmla="*/ 102 w 527"/>
                <a:gd name="T51" fmla="*/ 197 h 612"/>
                <a:gd name="T52" fmla="*/ 79 w 527"/>
                <a:gd name="T53" fmla="*/ 226 h 612"/>
                <a:gd name="T54" fmla="*/ 52 w 527"/>
                <a:gd name="T55" fmla="*/ 254 h 612"/>
                <a:gd name="T56" fmla="*/ 26 w 527"/>
                <a:gd name="T57" fmla="*/ 275 h 612"/>
                <a:gd name="T58" fmla="*/ 0 w 527"/>
                <a:gd name="T59" fmla="*/ 291 h 612"/>
                <a:gd name="T60" fmla="*/ 17 w 527"/>
                <a:gd name="T61" fmla="*/ 586 h 612"/>
                <a:gd name="T62" fmla="*/ 48 w 527"/>
                <a:gd name="T63" fmla="*/ 592 h 612"/>
                <a:gd name="T64" fmla="*/ 88 w 527"/>
                <a:gd name="T65" fmla="*/ 602 h 612"/>
                <a:gd name="T66" fmla="*/ 129 w 527"/>
                <a:gd name="T67" fmla="*/ 610 h 612"/>
                <a:gd name="T68" fmla="*/ 161 w 527"/>
                <a:gd name="T69" fmla="*/ 612 h 612"/>
                <a:gd name="T70" fmla="*/ 383 w 527"/>
                <a:gd name="T71" fmla="*/ 612 h 612"/>
                <a:gd name="T72" fmla="*/ 403 w 527"/>
                <a:gd name="T73" fmla="*/ 608 h 612"/>
                <a:gd name="T74" fmla="*/ 419 w 527"/>
                <a:gd name="T75" fmla="*/ 600 h 612"/>
                <a:gd name="T76" fmla="*/ 428 w 527"/>
                <a:gd name="T77" fmla="*/ 585 h 612"/>
                <a:gd name="T78" fmla="*/ 431 w 527"/>
                <a:gd name="T79" fmla="*/ 564 h 612"/>
                <a:gd name="T80" fmla="*/ 428 w 527"/>
                <a:gd name="T81" fmla="*/ 550 h 612"/>
                <a:gd name="T82" fmla="*/ 424 w 527"/>
                <a:gd name="T83" fmla="*/ 538 h 612"/>
                <a:gd name="T84" fmla="*/ 441 w 527"/>
                <a:gd name="T85" fmla="*/ 532 h 612"/>
                <a:gd name="T86" fmla="*/ 455 w 527"/>
                <a:gd name="T87" fmla="*/ 523 h 612"/>
                <a:gd name="T88" fmla="*/ 464 w 527"/>
                <a:gd name="T89" fmla="*/ 508 h 612"/>
                <a:gd name="T90" fmla="*/ 466 w 527"/>
                <a:gd name="T91" fmla="*/ 492 h 612"/>
                <a:gd name="T92" fmla="*/ 464 w 527"/>
                <a:gd name="T93" fmla="*/ 472 h 612"/>
                <a:gd name="T94" fmla="*/ 456 w 527"/>
                <a:gd name="T95" fmla="*/ 455 h 612"/>
                <a:gd name="T96" fmla="*/ 475 w 527"/>
                <a:gd name="T97" fmla="*/ 447 h 612"/>
                <a:gd name="T98" fmla="*/ 489 w 527"/>
                <a:gd name="T99" fmla="*/ 433 h 612"/>
                <a:gd name="T100" fmla="*/ 499 w 527"/>
                <a:gd name="T101" fmla="*/ 416 h 612"/>
                <a:gd name="T102" fmla="*/ 502 w 527"/>
                <a:gd name="T103" fmla="*/ 397 h 612"/>
                <a:gd name="T104" fmla="*/ 501 w 527"/>
                <a:gd name="T105" fmla="*/ 386 h 612"/>
                <a:gd name="T106" fmla="*/ 497 w 527"/>
                <a:gd name="T107" fmla="*/ 375 h 612"/>
                <a:gd name="T108" fmla="*/ 484 w 527"/>
                <a:gd name="T109" fmla="*/ 357 h 612"/>
                <a:gd name="T110" fmla="*/ 503 w 527"/>
                <a:gd name="T111" fmla="*/ 345 h 612"/>
                <a:gd name="T112" fmla="*/ 516 w 527"/>
                <a:gd name="T113" fmla="*/ 329 h 612"/>
                <a:gd name="T114" fmla="*/ 523 w 527"/>
                <a:gd name="T115" fmla="*/ 309 h 612"/>
                <a:gd name="T116" fmla="*/ 527 w 527"/>
                <a:gd name="T117" fmla="*/ 288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7" h="612">
                  <a:moveTo>
                    <a:pt x="527" y="288"/>
                  </a:moveTo>
                  <a:lnTo>
                    <a:pt x="526" y="282"/>
                  </a:lnTo>
                  <a:lnTo>
                    <a:pt x="526" y="276"/>
                  </a:lnTo>
                  <a:lnTo>
                    <a:pt x="523" y="270"/>
                  </a:lnTo>
                  <a:lnTo>
                    <a:pt x="522" y="266"/>
                  </a:lnTo>
                  <a:lnTo>
                    <a:pt x="516" y="255"/>
                  </a:lnTo>
                  <a:lnTo>
                    <a:pt x="509" y="247"/>
                  </a:lnTo>
                  <a:lnTo>
                    <a:pt x="500" y="240"/>
                  </a:lnTo>
                  <a:lnTo>
                    <a:pt x="489" y="234"/>
                  </a:lnTo>
                  <a:lnTo>
                    <a:pt x="484" y="231"/>
                  </a:lnTo>
                  <a:lnTo>
                    <a:pt x="478" y="230"/>
                  </a:lnTo>
                  <a:lnTo>
                    <a:pt x="472" y="229"/>
                  </a:lnTo>
                  <a:lnTo>
                    <a:pt x="466" y="229"/>
                  </a:lnTo>
                  <a:lnTo>
                    <a:pt x="244" y="229"/>
                  </a:lnTo>
                  <a:lnTo>
                    <a:pt x="250" y="213"/>
                  </a:lnTo>
                  <a:lnTo>
                    <a:pt x="256" y="196"/>
                  </a:lnTo>
                  <a:lnTo>
                    <a:pt x="261" y="175"/>
                  </a:lnTo>
                  <a:lnTo>
                    <a:pt x="267" y="154"/>
                  </a:lnTo>
                  <a:lnTo>
                    <a:pt x="270" y="131"/>
                  </a:lnTo>
                  <a:lnTo>
                    <a:pt x="273" y="110"/>
                  </a:lnTo>
                  <a:lnTo>
                    <a:pt x="273" y="99"/>
                  </a:lnTo>
                  <a:lnTo>
                    <a:pt x="273" y="90"/>
                  </a:lnTo>
                  <a:lnTo>
                    <a:pt x="271" y="80"/>
                  </a:lnTo>
                  <a:lnTo>
                    <a:pt x="269" y="71"/>
                  </a:lnTo>
                  <a:lnTo>
                    <a:pt x="265" y="60"/>
                  </a:lnTo>
                  <a:lnTo>
                    <a:pt x="262" y="49"/>
                  </a:lnTo>
                  <a:lnTo>
                    <a:pt x="257" y="41"/>
                  </a:lnTo>
                  <a:lnTo>
                    <a:pt x="252" y="33"/>
                  </a:lnTo>
                  <a:lnTo>
                    <a:pt x="248" y="25"/>
                  </a:lnTo>
                  <a:lnTo>
                    <a:pt x="243" y="21"/>
                  </a:lnTo>
                  <a:lnTo>
                    <a:pt x="238" y="16"/>
                  </a:lnTo>
                  <a:lnTo>
                    <a:pt x="233" y="11"/>
                  </a:lnTo>
                  <a:lnTo>
                    <a:pt x="224" y="6"/>
                  </a:lnTo>
                  <a:lnTo>
                    <a:pt x="215" y="3"/>
                  </a:lnTo>
                  <a:lnTo>
                    <a:pt x="208" y="2"/>
                  </a:lnTo>
                  <a:lnTo>
                    <a:pt x="202" y="0"/>
                  </a:lnTo>
                  <a:lnTo>
                    <a:pt x="193" y="2"/>
                  </a:lnTo>
                  <a:lnTo>
                    <a:pt x="184" y="5"/>
                  </a:lnTo>
                  <a:lnTo>
                    <a:pt x="176" y="10"/>
                  </a:lnTo>
                  <a:lnTo>
                    <a:pt x="169" y="16"/>
                  </a:lnTo>
                  <a:lnTo>
                    <a:pt x="163" y="23"/>
                  </a:lnTo>
                  <a:lnTo>
                    <a:pt x="159" y="33"/>
                  </a:lnTo>
                  <a:lnTo>
                    <a:pt x="156" y="42"/>
                  </a:lnTo>
                  <a:lnTo>
                    <a:pt x="155" y="53"/>
                  </a:lnTo>
                  <a:lnTo>
                    <a:pt x="155" y="71"/>
                  </a:lnTo>
                  <a:lnTo>
                    <a:pt x="151" y="90"/>
                  </a:lnTo>
                  <a:lnTo>
                    <a:pt x="146" y="109"/>
                  </a:lnTo>
                  <a:lnTo>
                    <a:pt x="140" y="127"/>
                  </a:lnTo>
                  <a:lnTo>
                    <a:pt x="133" y="144"/>
                  </a:lnTo>
                  <a:lnTo>
                    <a:pt x="124" y="162"/>
                  </a:lnTo>
                  <a:lnTo>
                    <a:pt x="114" y="180"/>
                  </a:lnTo>
                  <a:lnTo>
                    <a:pt x="102" y="197"/>
                  </a:lnTo>
                  <a:lnTo>
                    <a:pt x="91" y="212"/>
                  </a:lnTo>
                  <a:lnTo>
                    <a:pt x="79" y="226"/>
                  </a:lnTo>
                  <a:lnTo>
                    <a:pt x="66" y="241"/>
                  </a:lnTo>
                  <a:lnTo>
                    <a:pt x="52" y="254"/>
                  </a:lnTo>
                  <a:lnTo>
                    <a:pt x="39" y="266"/>
                  </a:lnTo>
                  <a:lnTo>
                    <a:pt x="26" y="275"/>
                  </a:lnTo>
                  <a:lnTo>
                    <a:pt x="12" y="284"/>
                  </a:lnTo>
                  <a:lnTo>
                    <a:pt x="0" y="291"/>
                  </a:lnTo>
                  <a:lnTo>
                    <a:pt x="0" y="582"/>
                  </a:lnTo>
                  <a:lnTo>
                    <a:pt x="17" y="586"/>
                  </a:lnTo>
                  <a:lnTo>
                    <a:pt x="32" y="588"/>
                  </a:lnTo>
                  <a:lnTo>
                    <a:pt x="48" y="592"/>
                  </a:lnTo>
                  <a:lnTo>
                    <a:pt x="61" y="595"/>
                  </a:lnTo>
                  <a:lnTo>
                    <a:pt x="88" y="602"/>
                  </a:lnTo>
                  <a:lnTo>
                    <a:pt x="114" y="607"/>
                  </a:lnTo>
                  <a:lnTo>
                    <a:pt x="129" y="610"/>
                  </a:lnTo>
                  <a:lnTo>
                    <a:pt x="144" y="611"/>
                  </a:lnTo>
                  <a:lnTo>
                    <a:pt x="161" y="612"/>
                  </a:lnTo>
                  <a:lnTo>
                    <a:pt x="180" y="612"/>
                  </a:lnTo>
                  <a:lnTo>
                    <a:pt x="383" y="612"/>
                  </a:lnTo>
                  <a:lnTo>
                    <a:pt x="394" y="611"/>
                  </a:lnTo>
                  <a:lnTo>
                    <a:pt x="403" y="608"/>
                  </a:lnTo>
                  <a:lnTo>
                    <a:pt x="412" y="605"/>
                  </a:lnTo>
                  <a:lnTo>
                    <a:pt x="419" y="600"/>
                  </a:lnTo>
                  <a:lnTo>
                    <a:pt x="424" y="593"/>
                  </a:lnTo>
                  <a:lnTo>
                    <a:pt x="428" y="585"/>
                  </a:lnTo>
                  <a:lnTo>
                    <a:pt x="430" y="575"/>
                  </a:lnTo>
                  <a:lnTo>
                    <a:pt x="431" y="564"/>
                  </a:lnTo>
                  <a:lnTo>
                    <a:pt x="431" y="557"/>
                  </a:lnTo>
                  <a:lnTo>
                    <a:pt x="428" y="550"/>
                  </a:lnTo>
                  <a:lnTo>
                    <a:pt x="426" y="544"/>
                  </a:lnTo>
                  <a:lnTo>
                    <a:pt x="424" y="538"/>
                  </a:lnTo>
                  <a:lnTo>
                    <a:pt x="433" y="536"/>
                  </a:lnTo>
                  <a:lnTo>
                    <a:pt x="441" y="532"/>
                  </a:lnTo>
                  <a:lnTo>
                    <a:pt x="449" y="527"/>
                  </a:lnTo>
                  <a:lnTo>
                    <a:pt x="455" y="523"/>
                  </a:lnTo>
                  <a:lnTo>
                    <a:pt x="460" y="516"/>
                  </a:lnTo>
                  <a:lnTo>
                    <a:pt x="464" y="508"/>
                  </a:lnTo>
                  <a:lnTo>
                    <a:pt x="466" y="501"/>
                  </a:lnTo>
                  <a:lnTo>
                    <a:pt x="466" y="492"/>
                  </a:lnTo>
                  <a:lnTo>
                    <a:pt x="466" y="481"/>
                  </a:lnTo>
                  <a:lnTo>
                    <a:pt x="464" y="472"/>
                  </a:lnTo>
                  <a:lnTo>
                    <a:pt x="460" y="462"/>
                  </a:lnTo>
                  <a:lnTo>
                    <a:pt x="456" y="455"/>
                  </a:lnTo>
                  <a:lnTo>
                    <a:pt x="465" y="451"/>
                  </a:lnTo>
                  <a:lnTo>
                    <a:pt x="475" y="447"/>
                  </a:lnTo>
                  <a:lnTo>
                    <a:pt x="482" y="441"/>
                  </a:lnTo>
                  <a:lnTo>
                    <a:pt x="489" y="433"/>
                  </a:lnTo>
                  <a:lnTo>
                    <a:pt x="495" y="425"/>
                  </a:lnTo>
                  <a:lnTo>
                    <a:pt x="499" y="416"/>
                  </a:lnTo>
                  <a:lnTo>
                    <a:pt x="502" y="406"/>
                  </a:lnTo>
                  <a:lnTo>
                    <a:pt x="502" y="397"/>
                  </a:lnTo>
                  <a:lnTo>
                    <a:pt x="502" y="391"/>
                  </a:lnTo>
                  <a:lnTo>
                    <a:pt x="501" y="386"/>
                  </a:lnTo>
                  <a:lnTo>
                    <a:pt x="500" y="380"/>
                  </a:lnTo>
                  <a:lnTo>
                    <a:pt x="497" y="375"/>
                  </a:lnTo>
                  <a:lnTo>
                    <a:pt x="491" y="366"/>
                  </a:lnTo>
                  <a:lnTo>
                    <a:pt x="484" y="357"/>
                  </a:lnTo>
                  <a:lnTo>
                    <a:pt x="495" y="353"/>
                  </a:lnTo>
                  <a:lnTo>
                    <a:pt x="503" y="345"/>
                  </a:lnTo>
                  <a:lnTo>
                    <a:pt x="510" y="338"/>
                  </a:lnTo>
                  <a:lnTo>
                    <a:pt x="516" y="329"/>
                  </a:lnTo>
                  <a:lnTo>
                    <a:pt x="521" y="319"/>
                  </a:lnTo>
                  <a:lnTo>
                    <a:pt x="523" y="309"/>
                  </a:lnTo>
                  <a:lnTo>
                    <a:pt x="526" y="298"/>
                  </a:lnTo>
                  <a:lnTo>
                    <a:pt x="527" y="2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136"/>
            <p:cNvSpPr>
              <a:spLocks noEditPoints="1"/>
            </p:cNvSpPr>
            <p:nvPr/>
          </p:nvSpPr>
          <p:spPr bwMode="auto">
            <a:xfrm>
              <a:off x="7600950" y="879475"/>
              <a:ext cx="66675" cy="152400"/>
            </a:xfrm>
            <a:custGeom>
              <a:avLst/>
              <a:gdLst>
                <a:gd name="T0" fmla="*/ 104 w 168"/>
                <a:gd name="T1" fmla="*/ 330 h 385"/>
                <a:gd name="T2" fmla="*/ 98 w 168"/>
                <a:gd name="T3" fmla="*/ 329 h 385"/>
                <a:gd name="T4" fmla="*/ 93 w 168"/>
                <a:gd name="T5" fmla="*/ 326 h 385"/>
                <a:gd name="T6" fmla="*/ 90 w 168"/>
                <a:gd name="T7" fmla="*/ 320 h 385"/>
                <a:gd name="T8" fmla="*/ 88 w 168"/>
                <a:gd name="T9" fmla="*/ 316 h 385"/>
                <a:gd name="T10" fmla="*/ 90 w 168"/>
                <a:gd name="T11" fmla="*/ 310 h 385"/>
                <a:gd name="T12" fmla="*/ 93 w 168"/>
                <a:gd name="T13" fmla="*/ 305 h 385"/>
                <a:gd name="T14" fmla="*/ 98 w 168"/>
                <a:gd name="T15" fmla="*/ 301 h 385"/>
                <a:gd name="T16" fmla="*/ 104 w 168"/>
                <a:gd name="T17" fmla="*/ 300 h 385"/>
                <a:gd name="T18" fmla="*/ 110 w 168"/>
                <a:gd name="T19" fmla="*/ 301 h 385"/>
                <a:gd name="T20" fmla="*/ 115 w 168"/>
                <a:gd name="T21" fmla="*/ 305 h 385"/>
                <a:gd name="T22" fmla="*/ 117 w 168"/>
                <a:gd name="T23" fmla="*/ 310 h 385"/>
                <a:gd name="T24" fmla="*/ 118 w 168"/>
                <a:gd name="T25" fmla="*/ 316 h 385"/>
                <a:gd name="T26" fmla="*/ 117 w 168"/>
                <a:gd name="T27" fmla="*/ 320 h 385"/>
                <a:gd name="T28" fmla="*/ 115 w 168"/>
                <a:gd name="T29" fmla="*/ 326 h 385"/>
                <a:gd name="T30" fmla="*/ 110 w 168"/>
                <a:gd name="T31" fmla="*/ 329 h 385"/>
                <a:gd name="T32" fmla="*/ 104 w 168"/>
                <a:gd name="T33" fmla="*/ 330 h 385"/>
                <a:gd name="T34" fmla="*/ 104 w 168"/>
                <a:gd name="T35" fmla="*/ 330 h 385"/>
                <a:gd name="T36" fmla="*/ 156 w 168"/>
                <a:gd name="T37" fmla="*/ 2 h 385"/>
                <a:gd name="T38" fmla="*/ 13 w 168"/>
                <a:gd name="T39" fmla="*/ 0 h 385"/>
                <a:gd name="T40" fmla="*/ 9 w 168"/>
                <a:gd name="T41" fmla="*/ 2 h 385"/>
                <a:gd name="T42" fmla="*/ 4 w 168"/>
                <a:gd name="T43" fmla="*/ 4 h 385"/>
                <a:gd name="T44" fmla="*/ 2 w 168"/>
                <a:gd name="T45" fmla="*/ 9 h 385"/>
                <a:gd name="T46" fmla="*/ 0 w 168"/>
                <a:gd name="T47" fmla="*/ 14 h 385"/>
                <a:gd name="T48" fmla="*/ 0 w 168"/>
                <a:gd name="T49" fmla="*/ 373 h 385"/>
                <a:gd name="T50" fmla="*/ 2 w 168"/>
                <a:gd name="T51" fmla="*/ 378 h 385"/>
                <a:gd name="T52" fmla="*/ 4 w 168"/>
                <a:gd name="T53" fmla="*/ 381 h 385"/>
                <a:gd name="T54" fmla="*/ 9 w 168"/>
                <a:gd name="T55" fmla="*/ 383 h 385"/>
                <a:gd name="T56" fmla="*/ 13 w 168"/>
                <a:gd name="T57" fmla="*/ 385 h 385"/>
                <a:gd name="T58" fmla="*/ 156 w 168"/>
                <a:gd name="T59" fmla="*/ 385 h 385"/>
                <a:gd name="T60" fmla="*/ 161 w 168"/>
                <a:gd name="T61" fmla="*/ 383 h 385"/>
                <a:gd name="T62" fmla="*/ 165 w 168"/>
                <a:gd name="T63" fmla="*/ 381 h 385"/>
                <a:gd name="T64" fmla="*/ 168 w 168"/>
                <a:gd name="T65" fmla="*/ 378 h 385"/>
                <a:gd name="T66" fmla="*/ 168 w 168"/>
                <a:gd name="T67" fmla="*/ 373 h 385"/>
                <a:gd name="T68" fmla="*/ 168 w 168"/>
                <a:gd name="T69" fmla="*/ 303 h 385"/>
                <a:gd name="T70" fmla="*/ 168 w 168"/>
                <a:gd name="T71" fmla="*/ 72 h 385"/>
                <a:gd name="T72" fmla="*/ 168 w 168"/>
                <a:gd name="T73" fmla="*/ 14 h 385"/>
                <a:gd name="T74" fmla="*/ 168 w 168"/>
                <a:gd name="T75" fmla="*/ 9 h 385"/>
                <a:gd name="T76" fmla="*/ 166 w 168"/>
                <a:gd name="T77" fmla="*/ 5 h 385"/>
                <a:gd name="T78" fmla="*/ 161 w 168"/>
                <a:gd name="T79" fmla="*/ 3 h 385"/>
                <a:gd name="T80" fmla="*/ 156 w 168"/>
                <a:gd name="T81" fmla="*/ 2 h 385"/>
                <a:gd name="T82" fmla="*/ 156 w 168"/>
                <a:gd name="T83" fmla="*/ 2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8" h="385">
                  <a:moveTo>
                    <a:pt x="104" y="330"/>
                  </a:moveTo>
                  <a:lnTo>
                    <a:pt x="98" y="329"/>
                  </a:lnTo>
                  <a:lnTo>
                    <a:pt x="93" y="326"/>
                  </a:lnTo>
                  <a:lnTo>
                    <a:pt x="90" y="320"/>
                  </a:lnTo>
                  <a:lnTo>
                    <a:pt x="88" y="316"/>
                  </a:lnTo>
                  <a:lnTo>
                    <a:pt x="90" y="310"/>
                  </a:lnTo>
                  <a:lnTo>
                    <a:pt x="93" y="305"/>
                  </a:lnTo>
                  <a:lnTo>
                    <a:pt x="98" y="301"/>
                  </a:lnTo>
                  <a:lnTo>
                    <a:pt x="104" y="300"/>
                  </a:lnTo>
                  <a:lnTo>
                    <a:pt x="110" y="301"/>
                  </a:lnTo>
                  <a:lnTo>
                    <a:pt x="115" y="305"/>
                  </a:lnTo>
                  <a:lnTo>
                    <a:pt x="117" y="310"/>
                  </a:lnTo>
                  <a:lnTo>
                    <a:pt x="118" y="316"/>
                  </a:lnTo>
                  <a:lnTo>
                    <a:pt x="117" y="320"/>
                  </a:lnTo>
                  <a:lnTo>
                    <a:pt x="115" y="326"/>
                  </a:lnTo>
                  <a:lnTo>
                    <a:pt x="110" y="329"/>
                  </a:lnTo>
                  <a:lnTo>
                    <a:pt x="104" y="330"/>
                  </a:lnTo>
                  <a:lnTo>
                    <a:pt x="104" y="330"/>
                  </a:lnTo>
                  <a:close/>
                  <a:moveTo>
                    <a:pt x="156" y="2"/>
                  </a:moveTo>
                  <a:lnTo>
                    <a:pt x="13" y="0"/>
                  </a:lnTo>
                  <a:lnTo>
                    <a:pt x="9" y="2"/>
                  </a:lnTo>
                  <a:lnTo>
                    <a:pt x="4" y="4"/>
                  </a:lnTo>
                  <a:lnTo>
                    <a:pt x="2" y="9"/>
                  </a:lnTo>
                  <a:lnTo>
                    <a:pt x="0" y="14"/>
                  </a:lnTo>
                  <a:lnTo>
                    <a:pt x="0" y="373"/>
                  </a:lnTo>
                  <a:lnTo>
                    <a:pt x="2" y="378"/>
                  </a:lnTo>
                  <a:lnTo>
                    <a:pt x="4" y="381"/>
                  </a:lnTo>
                  <a:lnTo>
                    <a:pt x="9" y="383"/>
                  </a:lnTo>
                  <a:lnTo>
                    <a:pt x="13" y="385"/>
                  </a:lnTo>
                  <a:lnTo>
                    <a:pt x="156" y="385"/>
                  </a:lnTo>
                  <a:lnTo>
                    <a:pt x="161" y="383"/>
                  </a:lnTo>
                  <a:lnTo>
                    <a:pt x="165" y="381"/>
                  </a:lnTo>
                  <a:lnTo>
                    <a:pt x="168" y="378"/>
                  </a:lnTo>
                  <a:lnTo>
                    <a:pt x="168" y="373"/>
                  </a:lnTo>
                  <a:lnTo>
                    <a:pt x="168" y="303"/>
                  </a:lnTo>
                  <a:lnTo>
                    <a:pt x="168" y="72"/>
                  </a:lnTo>
                  <a:lnTo>
                    <a:pt x="168" y="14"/>
                  </a:lnTo>
                  <a:lnTo>
                    <a:pt x="168" y="9"/>
                  </a:lnTo>
                  <a:lnTo>
                    <a:pt x="166" y="5"/>
                  </a:lnTo>
                  <a:lnTo>
                    <a:pt x="161" y="3"/>
                  </a:lnTo>
                  <a:lnTo>
                    <a:pt x="156" y="2"/>
                  </a:lnTo>
                  <a:lnTo>
                    <a:pt x="15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xmlns="" val="1832778121"/>
              </p:ext>
            </p:extLst>
          </p:nvPr>
        </p:nvGraphicFramePr>
        <p:xfrm>
          <a:off x="50126" y="3372152"/>
          <a:ext cx="3985845" cy="33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3" name="Chart 22"/>
          <p:cNvGraphicFramePr/>
          <p:nvPr>
            <p:extLst>
              <p:ext uri="{D42A27DB-BD31-4B8C-83A1-F6EECF244321}">
                <p14:modId xmlns:p14="http://schemas.microsoft.com/office/powerpoint/2010/main" xmlns="" val="2665161076"/>
              </p:ext>
            </p:extLst>
          </p:nvPr>
        </p:nvGraphicFramePr>
        <p:xfrm>
          <a:off x="4172506" y="3372152"/>
          <a:ext cx="3836396" cy="33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xmlns="" val="808273417"/>
              </p:ext>
            </p:extLst>
          </p:nvPr>
        </p:nvGraphicFramePr>
        <p:xfrm>
          <a:off x="8145436" y="3363303"/>
          <a:ext cx="3981835" cy="338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xmlns="" val="1222485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9" y="53554"/>
            <a:ext cx="1010667" cy="1008000"/>
          </a:xfrm>
          <a:prstGeom prst="rect">
            <a:avLst/>
          </a:prstGeom>
        </p:spPr>
      </p:pic>
      <p:sp>
        <p:nvSpPr>
          <p:cNvPr id="6" name="OTLSHAPE_TB_00000000000000000000000000000000_ScaleContainer"/>
          <p:cNvSpPr/>
          <p:nvPr>
            <p:custDataLst>
              <p:tags r:id="rId1"/>
            </p:custDataLst>
          </p:nvPr>
        </p:nvSpPr>
        <p:spPr>
          <a:xfrm>
            <a:off x="651448" y="1304349"/>
            <a:ext cx="2628000" cy="381000"/>
          </a:xfrm>
          <a:prstGeom prst="roundRect">
            <a:avLst>
              <a:gd name="adj" fmla="val 100000"/>
            </a:avLst>
          </a:prstGeom>
          <a:solidFill>
            <a:srgbClr val="7C5802">
              <a:alpha val="30196"/>
            </a:srgb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Tender Creation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OTLSHAPE_TB_00000000000000000000000000000000_ScaleContainer"/>
          <p:cNvSpPr/>
          <p:nvPr>
            <p:custDataLst>
              <p:tags r:id="rId2"/>
            </p:custDataLst>
          </p:nvPr>
        </p:nvSpPr>
        <p:spPr>
          <a:xfrm>
            <a:off x="651448" y="2272833"/>
            <a:ext cx="2628000" cy="381000"/>
          </a:xfrm>
          <a:prstGeom prst="roundRect">
            <a:avLst>
              <a:gd name="adj" fmla="val 100000"/>
            </a:avLst>
          </a:prstGeom>
          <a:solidFill>
            <a:schemeClr val="tx1">
              <a:lumMod val="50000"/>
              <a:alpha val="50196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Bid Submission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OTLSHAPE_TB_00000000000000000000000000000000_ScaleContainer"/>
          <p:cNvSpPr/>
          <p:nvPr>
            <p:custDataLst>
              <p:tags r:id="rId3"/>
            </p:custDataLst>
          </p:nvPr>
        </p:nvSpPr>
        <p:spPr>
          <a:xfrm>
            <a:off x="199711" y="3241317"/>
            <a:ext cx="3531475" cy="381000"/>
          </a:xfrm>
          <a:prstGeom prst="roundRect">
            <a:avLst>
              <a:gd name="adj" fmla="val 100000"/>
            </a:avLst>
          </a:prstGeom>
          <a:solidFill>
            <a:schemeClr val="accent2">
              <a:lumMod val="50000"/>
              <a:alpha val="30196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Technical Bid Opening</a:t>
            </a:r>
            <a:endParaRPr lang="en-US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OTLSHAPE_TB_00000000000000000000000000000000_ScaleContainer"/>
          <p:cNvSpPr/>
          <p:nvPr>
            <p:custDataLst>
              <p:tags r:id="rId4"/>
            </p:custDataLst>
          </p:nvPr>
        </p:nvSpPr>
        <p:spPr>
          <a:xfrm>
            <a:off x="327267" y="4681042"/>
            <a:ext cx="3276363" cy="381000"/>
          </a:xfrm>
          <a:prstGeom prst="roundRect">
            <a:avLst>
              <a:gd name="adj" fmla="val 100000"/>
            </a:avLst>
          </a:prstGeom>
          <a:solidFill>
            <a:srgbClr val="FFFFFF">
              <a:alpha val="60000"/>
            </a:srgb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nancial Bid Opening</a:t>
            </a:r>
            <a:endParaRPr lang="en-US" sz="2400" dirty="0">
              <a:solidFill>
                <a:schemeClr val="accent5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TLSHAPE_TB_00000000000000000000000000000000_ScaleContainer"/>
          <p:cNvSpPr/>
          <p:nvPr>
            <p:custDataLst>
              <p:tags r:id="rId5"/>
            </p:custDataLst>
          </p:nvPr>
        </p:nvSpPr>
        <p:spPr>
          <a:xfrm>
            <a:off x="3130888" y="6120767"/>
            <a:ext cx="3429651" cy="381000"/>
          </a:xfrm>
          <a:prstGeom prst="roundRect">
            <a:avLst>
              <a:gd name="adj" fmla="val 100000"/>
            </a:avLst>
          </a:prstGeom>
          <a:solidFill>
            <a:srgbClr val="F8B004">
              <a:alpha val="30196"/>
            </a:srgb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ward of Contract</a:t>
            </a:r>
            <a:endParaRPr lang="en-US" sz="2400" dirty="0">
              <a:solidFill>
                <a:schemeClr val="tx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" name="Straight Arrow Connector 11"/>
          <p:cNvCxnSpPr>
            <a:stCxn id="6" idx="2"/>
            <a:endCxn id="7" idx="0"/>
          </p:cNvCxnSpPr>
          <p:nvPr/>
        </p:nvCxnSpPr>
        <p:spPr>
          <a:xfrm>
            <a:off x="1965448" y="1685349"/>
            <a:ext cx="0" cy="587484"/>
          </a:xfrm>
          <a:prstGeom prst="straightConnector1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7" idx="2"/>
            <a:endCxn id="8" idx="0"/>
          </p:cNvCxnSpPr>
          <p:nvPr/>
        </p:nvCxnSpPr>
        <p:spPr>
          <a:xfrm>
            <a:off x="1965448" y="2653833"/>
            <a:ext cx="1" cy="587484"/>
          </a:xfrm>
          <a:prstGeom prst="straightConnector1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TLSHAPE_TB_00000000000000000000000000000000_ScaleContainer"/>
          <p:cNvSpPr/>
          <p:nvPr>
            <p:custDataLst>
              <p:tags r:id="rId6"/>
            </p:custDataLst>
          </p:nvPr>
        </p:nvSpPr>
        <p:spPr>
          <a:xfrm>
            <a:off x="4019114" y="3241317"/>
            <a:ext cx="4557340" cy="381000"/>
          </a:xfrm>
          <a:prstGeom prst="roundRect">
            <a:avLst>
              <a:gd name="adj" fmla="val 100000"/>
            </a:avLst>
          </a:prstGeom>
          <a:solidFill>
            <a:srgbClr val="CE4C07">
              <a:alpha val="27843"/>
            </a:srgb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tx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chno-Commercial Evaluation</a:t>
            </a:r>
            <a:endParaRPr lang="en-US" sz="2400" dirty="0">
              <a:solidFill>
                <a:schemeClr val="tx1">
                  <a:lumMod val="8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OTLSHAPE_TB_00000000000000000000000000000000_ScaleContainer"/>
          <p:cNvSpPr/>
          <p:nvPr>
            <p:custDataLst>
              <p:tags r:id="rId7"/>
            </p:custDataLst>
          </p:nvPr>
        </p:nvSpPr>
        <p:spPr>
          <a:xfrm>
            <a:off x="4131617" y="4681042"/>
            <a:ext cx="3049527" cy="381000"/>
          </a:xfrm>
          <a:prstGeom prst="roundRect">
            <a:avLst>
              <a:gd name="adj" fmla="val 100000"/>
            </a:avLst>
          </a:prstGeom>
          <a:solidFill>
            <a:srgbClr val="FFFFFF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 smtClean="0">
                <a:solidFill>
                  <a:schemeClr val="accent5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nancial Evaluation</a:t>
            </a:r>
            <a:endParaRPr lang="en-US" sz="2400" dirty="0">
              <a:solidFill>
                <a:schemeClr val="accent5">
                  <a:lumMod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4" name="Straight Arrow Connector 33"/>
          <p:cNvCxnSpPr>
            <a:stCxn id="8" idx="3"/>
            <a:endCxn id="32" idx="1"/>
          </p:cNvCxnSpPr>
          <p:nvPr/>
        </p:nvCxnSpPr>
        <p:spPr>
          <a:xfrm>
            <a:off x="3731186" y="3431817"/>
            <a:ext cx="287928" cy="0"/>
          </a:xfrm>
          <a:prstGeom prst="straightConnector1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/>
          <p:cNvCxnSpPr>
            <a:stCxn id="32" idx="2"/>
            <a:endCxn id="9" idx="0"/>
          </p:cNvCxnSpPr>
          <p:nvPr/>
        </p:nvCxnSpPr>
        <p:spPr>
          <a:xfrm rot="5400000">
            <a:off x="3602255" y="1985512"/>
            <a:ext cx="1058725" cy="4332335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stCxn id="33" idx="2"/>
            <a:endCxn id="10" idx="1"/>
          </p:cNvCxnSpPr>
          <p:nvPr/>
        </p:nvCxnSpPr>
        <p:spPr>
          <a:xfrm rot="5400000">
            <a:off x="3769023" y="4423908"/>
            <a:ext cx="1249225" cy="2525493"/>
          </a:xfrm>
          <a:prstGeom prst="bentConnector4">
            <a:avLst>
              <a:gd name="adj1" fmla="val 42375"/>
              <a:gd name="adj2" fmla="val 109052"/>
            </a:avLst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>
            <a:stCxn id="9" idx="3"/>
            <a:endCxn id="33" idx="1"/>
          </p:cNvCxnSpPr>
          <p:nvPr/>
        </p:nvCxnSpPr>
        <p:spPr>
          <a:xfrm>
            <a:off x="3603630" y="4871542"/>
            <a:ext cx="527987" cy="0"/>
          </a:xfrm>
          <a:prstGeom prst="straightConnector1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TLSHAPE_M_93afb554552a4221a5380f7919409aa7_Title"/>
          <p:cNvSpPr txBox="1"/>
          <p:nvPr>
            <p:custDataLst>
              <p:tags r:id="rId8"/>
            </p:custDataLst>
          </p:nvPr>
        </p:nvSpPr>
        <p:spPr>
          <a:xfrm>
            <a:off x="4195039" y="1879688"/>
            <a:ext cx="3890264" cy="1167289"/>
          </a:xfrm>
          <a:prstGeom prst="horizontalScroll">
            <a:avLst>
              <a:gd name="adj" fmla="val 18575"/>
            </a:avLst>
          </a:prstGeom>
          <a:solidFill>
            <a:srgbClr val="000000">
              <a:alpha val="69804"/>
            </a:srgb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2400" spc="-6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nline EMD </a:t>
            </a:r>
          </a:p>
          <a:p>
            <a:pPr algn="ctr"/>
            <a:r>
              <a:rPr lang="en-US" sz="2400" spc="-6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et Banking, RTGS/NEFT</a:t>
            </a:r>
            <a:endParaRPr lang="en-US" sz="2400" spc="-6" dirty="0">
              <a:solidFill>
                <a:schemeClr val="accent3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Straight Arrow Connector 19"/>
          <p:cNvCxnSpPr>
            <a:stCxn id="7" idx="3"/>
            <a:endCxn id="26" idx="1"/>
          </p:cNvCxnSpPr>
          <p:nvPr/>
        </p:nvCxnSpPr>
        <p:spPr>
          <a:xfrm>
            <a:off x="3279448" y="2463333"/>
            <a:ext cx="915591" cy="0"/>
          </a:xfrm>
          <a:prstGeom prst="straightConnector1">
            <a:avLst/>
          </a:prstGeom>
          <a:ln w="38100">
            <a:solidFill>
              <a:srgbClr val="C8CED6"/>
            </a:solidFill>
            <a:prstDash val="sysDash"/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36" name="OTLSHAPE_M_93afb554552a4221a5380f7919409aa7_Title"/>
          <p:cNvSpPr txBox="1"/>
          <p:nvPr>
            <p:custDataLst>
              <p:tags r:id="rId9"/>
            </p:custDataLst>
          </p:nvPr>
        </p:nvSpPr>
        <p:spPr>
          <a:xfrm>
            <a:off x="9986681" y="5591404"/>
            <a:ext cx="2116434" cy="1167289"/>
          </a:xfrm>
          <a:prstGeom prst="horizontalScroll">
            <a:avLst>
              <a:gd name="adj" fmla="val 18575"/>
            </a:avLst>
          </a:prstGeom>
          <a:solidFill>
            <a:srgbClr val="000000">
              <a:alpha val="69804"/>
            </a:srgb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2400" spc="-6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utomatic EMD Refund</a:t>
            </a:r>
            <a:endParaRPr lang="en-US" sz="2400" spc="-6" dirty="0">
              <a:solidFill>
                <a:schemeClr val="accent3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OTLSHAPE_M_93afb554552a4221a5380f7919409aa7_Title"/>
          <p:cNvSpPr txBox="1"/>
          <p:nvPr>
            <p:custDataLst>
              <p:tags r:id="rId10"/>
            </p:custDataLst>
          </p:nvPr>
        </p:nvSpPr>
        <p:spPr>
          <a:xfrm>
            <a:off x="9986681" y="2049332"/>
            <a:ext cx="2116434" cy="828000"/>
          </a:xfrm>
          <a:prstGeom prst="horizontalScroll">
            <a:avLst>
              <a:gd name="adj" fmla="val 18575"/>
            </a:avLst>
          </a:prstGeom>
          <a:solidFill>
            <a:srgbClr val="000000">
              <a:alpha val="69804"/>
            </a:srgb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rtlCol="0" anchor="ctr" anchorCtr="0">
            <a:spAutoFit/>
          </a:bodyPr>
          <a:lstStyle/>
          <a:p>
            <a:pPr algn="ctr"/>
            <a:r>
              <a:rPr lang="en-US" sz="2400" spc="-6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feit EMD</a:t>
            </a:r>
            <a:endParaRPr lang="en-US" sz="2400" spc="-6" dirty="0">
              <a:solidFill>
                <a:schemeClr val="accent3">
                  <a:lumMod val="20000"/>
                  <a:lumOff val="8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8194998" y="4151582"/>
            <a:ext cx="1756560" cy="1058919"/>
            <a:chOff x="3892549" y="2788553"/>
            <a:chExt cx="950676" cy="720000"/>
          </a:xfrm>
        </p:grpSpPr>
        <p:sp>
          <p:nvSpPr>
            <p:cNvPr id="41" name="Decision 18"/>
            <p:cNvSpPr>
              <a:spLocks noChangeArrowheads="1"/>
            </p:cNvSpPr>
            <p:nvPr/>
          </p:nvSpPr>
          <p:spPr bwMode="auto">
            <a:xfrm>
              <a:off x="3892549" y="2788553"/>
              <a:ext cx="936000" cy="720000"/>
            </a:xfrm>
            <a:prstGeom prst="flowChartDecision">
              <a:avLst/>
            </a:prstGeom>
            <a:solidFill>
              <a:srgbClr val="CE4C07">
                <a:alpha val="60000"/>
              </a:srgbClr>
            </a:solidFill>
            <a:ln w="9525">
              <a:solidFill>
                <a:srgbClr val="FFFFFF"/>
              </a:solidFill>
              <a:miter lim="800000"/>
              <a:headEnd/>
              <a:tailEnd/>
            </a:ln>
            <a:effectLst>
              <a:outerShdw blurRad="41275" dist="25400" dir="5400000" algn="tl" rotWithShape="0">
                <a:srgbClr val="68686D">
                  <a:alpha val="34998"/>
                </a:srgbClr>
              </a:outerShdw>
            </a:effectLst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200" dirty="0">
                <a:solidFill>
                  <a:schemeClr val="lt1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TextBox 41"/>
            <p:cNvSpPr txBox="1"/>
            <p:nvPr/>
          </p:nvSpPr>
          <p:spPr bwMode="auto">
            <a:xfrm>
              <a:off x="3907225" y="3026818"/>
              <a:ext cx="936000" cy="272050"/>
            </a:xfrm>
            <a:prstGeom prst="rect">
              <a:avLst/>
            </a:prstGeom>
            <a:noFill/>
          </p:spPr>
          <p:txBody>
            <a:bodyPr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 smtClean="0">
                  <a:cs typeface="Arial"/>
                </a:rPr>
                <a:t>Forfeit EMD?</a:t>
              </a:r>
              <a:endParaRPr lang="en-US" sz="2000" dirty="0">
                <a:cs typeface="Arial"/>
              </a:endParaRPr>
            </a:p>
          </p:txBody>
        </p:sp>
      </p:grpSp>
      <p:cxnSp>
        <p:nvCxnSpPr>
          <p:cNvPr id="27" name="Elbow Connector 26"/>
          <p:cNvCxnSpPr>
            <a:stCxn id="32" idx="3"/>
            <a:endCxn id="41" idx="0"/>
          </p:cNvCxnSpPr>
          <p:nvPr/>
        </p:nvCxnSpPr>
        <p:spPr>
          <a:xfrm>
            <a:off x="8576454" y="3431817"/>
            <a:ext cx="483266" cy="719765"/>
          </a:xfrm>
          <a:prstGeom prst="bentConnector2">
            <a:avLst/>
          </a:prstGeom>
          <a:ln w="38100">
            <a:solidFill>
              <a:srgbClr val="D1B0AB"/>
            </a:solidFill>
            <a:prstDash val="sysDash"/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33" idx="3"/>
            <a:endCxn id="42" idx="1"/>
          </p:cNvCxnSpPr>
          <p:nvPr/>
        </p:nvCxnSpPr>
        <p:spPr>
          <a:xfrm flipV="1">
            <a:off x="7181144" y="4702058"/>
            <a:ext cx="1040971" cy="169484"/>
          </a:xfrm>
          <a:prstGeom prst="bentConnector3">
            <a:avLst>
              <a:gd name="adj1" fmla="val 50000"/>
            </a:avLst>
          </a:prstGeom>
          <a:ln w="38100">
            <a:solidFill>
              <a:schemeClr val="tx1">
                <a:lumMod val="85000"/>
              </a:schemeClr>
            </a:solidFill>
            <a:prstDash val="sysDash"/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52" name="Elbow Connector 51"/>
          <p:cNvCxnSpPr>
            <a:stCxn id="10" idx="3"/>
            <a:endCxn id="41" idx="2"/>
          </p:cNvCxnSpPr>
          <p:nvPr/>
        </p:nvCxnSpPr>
        <p:spPr>
          <a:xfrm flipV="1">
            <a:off x="6560539" y="5210501"/>
            <a:ext cx="2499181" cy="1100766"/>
          </a:xfrm>
          <a:prstGeom prst="bentConnector2">
            <a:avLst/>
          </a:prstGeom>
          <a:ln w="38100">
            <a:solidFill>
              <a:schemeClr val="accent3">
                <a:lumMod val="40000"/>
                <a:lumOff val="60000"/>
              </a:schemeClr>
            </a:solidFill>
            <a:prstDash val="sysDash"/>
            <a:headEnd type="triangle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1038044" y="3651270"/>
            <a:ext cx="546816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Yes</a:t>
            </a:r>
            <a:endParaRPr lang="en-IN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1047598" y="4986449"/>
            <a:ext cx="527709" cy="4001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o</a:t>
            </a:r>
            <a:endParaRPr lang="en-IN" sz="2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599302" y="3066495"/>
            <a:ext cx="1012520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r"/>
            <a:r>
              <a:rPr lang="en-IN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Rejected </a:t>
            </a:r>
          </a:p>
          <a:p>
            <a:pPr algn="r"/>
            <a:r>
              <a:rPr lang="en-IN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Bids</a:t>
            </a:r>
            <a:endParaRPr lang="en-IN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7444171" y="5955901"/>
            <a:ext cx="1386020" cy="33855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r"/>
            <a:r>
              <a:rPr lang="en-IN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Rejected Bids</a:t>
            </a:r>
            <a:endParaRPr lang="en-IN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7179779" y="4117283"/>
            <a:ext cx="1012520" cy="58477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algn="ctr"/>
            <a:r>
              <a:rPr lang="en-IN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Rejected </a:t>
            </a:r>
          </a:p>
          <a:p>
            <a:pPr algn="ctr"/>
            <a:r>
              <a:rPr lang="en-IN" sz="1600" dirty="0" smtClean="0">
                <a:latin typeface="Segoe UI" panose="020B0502040204020203" pitchFamily="34" charset="0"/>
                <a:cs typeface="Segoe UI" panose="020B0502040204020203" pitchFamily="34" charset="0"/>
              </a:rPr>
              <a:t>Bids</a:t>
            </a:r>
            <a:endParaRPr lang="en-IN" sz="16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 smtClean="0">
                <a:solidFill>
                  <a:prstClr val="white"/>
                </a:solidFill>
              </a:rPr>
              <a:t>Online EMD Payment &amp; Refund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cxnSp>
        <p:nvCxnSpPr>
          <p:cNvPr id="35" name="Elbow Connector 34"/>
          <p:cNvCxnSpPr>
            <a:stCxn id="42" idx="3"/>
            <a:endCxn id="37" idx="2"/>
          </p:cNvCxnSpPr>
          <p:nvPr/>
        </p:nvCxnSpPr>
        <p:spPr>
          <a:xfrm flipV="1">
            <a:off x="9951558" y="2723531"/>
            <a:ext cx="1093340" cy="1978527"/>
          </a:xfrm>
          <a:prstGeom prst="bentConnector4">
            <a:avLst>
              <a:gd name="adj1" fmla="val 1606"/>
              <a:gd name="adj2" fmla="val 607"/>
            </a:avLst>
          </a:prstGeom>
          <a:ln w="38100">
            <a:solidFill>
              <a:srgbClr val="F86E24">
                <a:alpha val="80000"/>
              </a:srgbClr>
            </a:solidFill>
            <a:prstDash val="sysDash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41" idx="3"/>
            <a:endCxn id="36" idx="0"/>
          </p:cNvCxnSpPr>
          <p:nvPr/>
        </p:nvCxnSpPr>
        <p:spPr>
          <a:xfrm>
            <a:off x="9924441" y="4681042"/>
            <a:ext cx="1120457" cy="1127186"/>
          </a:xfrm>
          <a:prstGeom prst="bentConnector4">
            <a:avLst>
              <a:gd name="adj1" fmla="val 2777"/>
              <a:gd name="adj2" fmla="val 929"/>
            </a:avLst>
          </a:prstGeom>
          <a:ln w="38100">
            <a:solidFill>
              <a:srgbClr val="F86E24">
                <a:alpha val="80000"/>
              </a:srgbClr>
            </a:solidFill>
            <a:prstDash val="sysDash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34771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 smtClean="0">
                <a:solidFill>
                  <a:prstClr val="white"/>
                </a:solidFill>
              </a:rPr>
              <a:t>Functional Benefits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07664" y="3439164"/>
            <a:ext cx="4572000" cy="2381250"/>
          </a:xfrm>
          <a:prstGeom prst="ellipse">
            <a:avLst/>
          </a:prstGeom>
          <a:ln w="3175" cap="rnd">
            <a:solidFill>
              <a:schemeClr val="tx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7" name="Rectangle 6"/>
          <p:cNvSpPr/>
          <p:nvPr/>
        </p:nvSpPr>
        <p:spPr>
          <a:xfrm>
            <a:off x="4110650" y="6006443"/>
            <a:ext cx="397249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u="sng" dirty="0" smtClean="0">
                <a:solidFill>
                  <a:srgbClr val="F86E24">
                    <a:lumMod val="60000"/>
                    <a:lumOff val="40000"/>
                  </a:srgbClr>
                </a:solidFill>
              </a:rPr>
              <a:t>IOCL e-Tendering Portal</a:t>
            </a:r>
            <a:endParaRPr lang="en-IN" sz="2800" b="1" u="sng" dirty="0">
              <a:solidFill>
                <a:srgbClr val="F86E24">
                  <a:lumMod val="60000"/>
                  <a:lumOff val="40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8736491">
            <a:off x="7787541" y="3322454"/>
            <a:ext cx="748182" cy="48857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13342">
            <a:off x="8376617" y="4236927"/>
            <a:ext cx="941224" cy="48857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3830415">
            <a:off x="3548449" y="3277852"/>
            <a:ext cx="697140" cy="488578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2797772" y="4261039"/>
            <a:ext cx="843790" cy="493182"/>
          </a:xfrm>
          <a:prstGeom prst="rect">
            <a:avLst/>
          </a:prstGeom>
        </p:spPr>
      </p:pic>
      <p:cxnSp>
        <p:nvCxnSpPr>
          <p:cNvPr id="35" name="Straight Connector 34"/>
          <p:cNvCxnSpPr/>
          <p:nvPr/>
        </p:nvCxnSpPr>
        <p:spPr>
          <a:xfrm>
            <a:off x="4574482" y="4534256"/>
            <a:ext cx="0" cy="274789"/>
          </a:xfrm>
          <a:prstGeom prst="line">
            <a:avLst/>
          </a:prstGeom>
          <a:noFill/>
          <a:ln w="57150" cap="rnd">
            <a:solidFill>
              <a:schemeClr val="bg1">
                <a:lumMod val="8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grpSp>
        <p:nvGrpSpPr>
          <p:cNvPr id="120" name="Group 119"/>
          <p:cNvGrpSpPr/>
          <p:nvPr/>
        </p:nvGrpSpPr>
        <p:grpSpPr>
          <a:xfrm>
            <a:off x="8263189" y="2020429"/>
            <a:ext cx="3816000" cy="1584000"/>
            <a:chOff x="8830716" y="620688"/>
            <a:chExt cx="1224136" cy="2160240"/>
          </a:xfrm>
        </p:grpSpPr>
        <p:sp>
          <p:nvSpPr>
            <p:cNvPr id="121" name="Oval 120"/>
            <p:cNvSpPr/>
            <p:nvPr/>
          </p:nvSpPr>
          <p:spPr>
            <a:xfrm>
              <a:off x="8830716" y="620688"/>
              <a:ext cx="1224136" cy="2160240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2000">
                <a:solidFill>
                  <a:srgbClr val="000000"/>
                </a:solidFill>
              </a:endParaRPr>
            </a:p>
          </p:txBody>
        </p:sp>
        <p:sp>
          <p:nvSpPr>
            <p:cNvPr id="122" name="Rounded Rectangle 121"/>
            <p:cNvSpPr/>
            <p:nvPr/>
          </p:nvSpPr>
          <p:spPr>
            <a:xfrm>
              <a:off x="8931651" y="1030993"/>
              <a:ext cx="1046714" cy="1399714"/>
            </a:xfrm>
            <a:prstGeom prst="roundRect">
              <a:avLst>
                <a:gd name="adj" fmla="val 30777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1780" b="1" dirty="0">
                  <a:solidFill>
                    <a:srgbClr val="C1EBF7">
                      <a:lumMod val="10000"/>
                    </a:srgbClr>
                  </a:solidFill>
                </a:rPr>
                <a:t>Availability &amp; Sharing of Tender Documents across </a:t>
              </a:r>
              <a:r>
                <a:rPr lang="en-IN" sz="1780" b="1" dirty="0" err="1">
                  <a:solidFill>
                    <a:srgbClr val="C1EBF7">
                      <a:lumMod val="10000"/>
                    </a:srgbClr>
                  </a:solidFill>
                </a:rPr>
                <a:t>IndianOil</a:t>
              </a:r>
              <a:endParaRPr lang="en-IN" sz="1780" b="1" dirty="0">
                <a:solidFill>
                  <a:srgbClr val="C1EBF7">
                    <a:lumMod val="10000"/>
                  </a:srgbClr>
                </a:solidFill>
              </a:endParaRPr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9414795" y="3943229"/>
            <a:ext cx="2261600" cy="1182053"/>
            <a:chOff x="8830716" y="620688"/>
            <a:chExt cx="1224136" cy="2160240"/>
          </a:xfrm>
        </p:grpSpPr>
        <p:sp>
          <p:nvSpPr>
            <p:cNvPr id="124" name="Oval 123"/>
            <p:cNvSpPr/>
            <p:nvPr/>
          </p:nvSpPr>
          <p:spPr>
            <a:xfrm>
              <a:off x="8830716" y="620688"/>
              <a:ext cx="1224136" cy="2160240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2000">
                <a:solidFill>
                  <a:srgbClr val="000000"/>
                </a:solidFill>
              </a:endParaRPr>
            </a:p>
          </p:txBody>
        </p:sp>
        <p:sp>
          <p:nvSpPr>
            <p:cNvPr id="125" name="Rounded Rectangle 124"/>
            <p:cNvSpPr/>
            <p:nvPr/>
          </p:nvSpPr>
          <p:spPr>
            <a:xfrm>
              <a:off x="8935041" y="987220"/>
              <a:ext cx="1020774" cy="1485164"/>
            </a:xfrm>
            <a:prstGeom prst="roundRect">
              <a:avLst>
                <a:gd name="adj" fmla="val 30777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b="1" dirty="0" smtClean="0">
                  <a:solidFill>
                    <a:srgbClr val="C1EBF7">
                      <a:lumMod val="10000"/>
                    </a:srgbClr>
                  </a:solidFill>
                </a:rPr>
                <a:t>Report Management</a:t>
              </a: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92648" y="2020429"/>
            <a:ext cx="3570812" cy="1584000"/>
            <a:chOff x="8830716" y="620688"/>
            <a:chExt cx="1224136" cy="1875030"/>
          </a:xfrm>
        </p:grpSpPr>
        <p:sp>
          <p:nvSpPr>
            <p:cNvPr id="133" name="Oval 132"/>
            <p:cNvSpPr/>
            <p:nvPr/>
          </p:nvSpPr>
          <p:spPr>
            <a:xfrm>
              <a:off x="8830716" y="620688"/>
              <a:ext cx="1224136" cy="1875030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2000">
                <a:solidFill>
                  <a:srgbClr val="000000"/>
                </a:solidFill>
              </a:endParaRPr>
            </a:p>
          </p:txBody>
        </p:sp>
        <p:sp>
          <p:nvSpPr>
            <p:cNvPr id="134" name="Rounded Rectangle 133"/>
            <p:cNvSpPr/>
            <p:nvPr/>
          </p:nvSpPr>
          <p:spPr>
            <a:xfrm>
              <a:off x="8922886" y="974326"/>
              <a:ext cx="1046636" cy="1214508"/>
            </a:xfrm>
            <a:prstGeom prst="roundRect">
              <a:avLst>
                <a:gd name="adj" fmla="val 30777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b="1" dirty="0">
                  <a:solidFill>
                    <a:srgbClr val="C1EBF7">
                      <a:lumMod val="10000"/>
                    </a:srgbClr>
                  </a:solidFill>
                </a:rPr>
                <a:t>Enhanced Bidder’s confidence in online and secure bidding process</a:t>
              </a:r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276465" y="3943229"/>
            <a:ext cx="2442039" cy="1182053"/>
            <a:chOff x="8830716" y="620688"/>
            <a:chExt cx="1224136" cy="2160240"/>
          </a:xfrm>
        </p:grpSpPr>
        <p:sp>
          <p:nvSpPr>
            <p:cNvPr id="136" name="Oval 135"/>
            <p:cNvSpPr/>
            <p:nvPr/>
          </p:nvSpPr>
          <p:spPr>
            <a:xfrm>
              <a:off x="8830716" y="620688"/>
              <a:ext cx="1224136" cy="2160240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2000">
                <a:solidFill>
                  <a:srgbClr val="000000"/>
                </a:solidFill>
              </a:endParaRPr>
            </a:p>
          </p:txBody>
        </p:sp>
        <p:sp>
          <p:nvSpPr>
            <p:cNvPr id="137" name="Rounded Rectangle 136"/>
            <p:cNvSpPr/>
            <p:nvPr/>
          </p:nvSpPr>
          <p:spPr>
            <a:xfrm>
              <a:off x="8961915" y="987248"/>
              <a:ext cx="973781" cy="1480134"/>
            </a:xfrm>
            <a:prstGeom prst="roundRect">
              <a:avLst>
                <a:gd name="adj" fmla="val 30777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b="1" dirty="0" smtClean="0">
                  <a:solidFill>
                    <a:srgbClr val="C1EBF7">
                      <a:lumMod val="10000"/>
                    </a:srgbClr>
                  </a:solidFill>
                </a:rPr>
                <a:t>Completely Digital Process</a:t>
              </a:r>
            </a:p>
          </p:txBody>
        </p:sp>
      </p:grpSp>
      <p:grpSp>
        <p:nvGrpSpPr>
          <p:cNvPr id="138" name="Group 137"/>
          <p:cNvGrpSpPr/>
          <p:nvPr/>
        </p:nvGrpSpPr>
        <p:grpSpPr>
          <a:xfrm>
            <a:off x="1114099" y="5350536"/>
            <a:ext cx="2295698" cy="1173357"/>
            <a:chOff x="8830716" y="620688"/>
            <a:chExt cx="1224136" cy="2160240"/>
          </a:xfrm>
        </p:grpSpPr>
        <p:sp>
          <p:nvSpPr>
            <p:cNvPr id="139" name="Oval 138"/>
            <p:cNvSpPr/>
            <p:nvPr/>
          </p:nvSpPr>
          <p:spPr>
            <a:xfrm>
              <a:off x="8830716" y="620688"/>
              <a:ext cx="1224136" cy="2160240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2000">
                <a:solidFill>
                  <a:srgbClr val="000000"/>
                </a:solidFill>
              </a:endParaRPr>
            </a:p>
          </p:txBody>
        </p:sp>
        <p:sp>
          <p:nvSpPr>
            <p:cNvPr id="140" name="Rounded Rectangle 139"/>
            <p:cNvSpPr/>
            <p:nvPr/>
          </p:nvSpPr>
          <p:spPr>
            <a:xfrm>
              <a:off x="8957271" y="964578"/>
              <a:ext cx="975793" cy="1539356"/>
            </a:xfrm>
            <a:prstGeom prst="roundRect">
              <a:avLst>
                <a:gd name="adj" fmla="val 30777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b="1" dirty="0">
                  <a:solidFill>
                    <a:srgbClr val="C1EBF7">
                      <a:lumMod val="10000"/>
                    </a:srgbClr>
                  </a:solidFill>
                </a:rPr>
                <a:t>Enhanced Bid Participation</a:t>
              </a:r>
            </a:p>
          </p:txBody>
        </p:sp>
      </p:grpSp>
      <p:grpSp>
        <p:nvGrpSpPr>
          <p:cNvPr id="144" name="Group 143"/>
          <p:cNvGrpSpPr/>
          <p:nvPr/>
        </p:nvGrpSpPr>
        <p:grpSpPr>
          <a:xfrm>
            <a:off x="8521244" y="5455836"/>
            <a:ext cx="2493602" cy="1176191"/>
            <a:chOff x="8830716" y="620688"/>
            <a:chExt cx="1224136" cy="2160240"/>
          </a:xfrm>
        </p:grpSpPr>
        <p:sp>
          <p:nvSpPr>
            <p:cNvPr id="145" name="Oval 144"/>
            <p:cNvSpPr/>
            <p:nvPr/>
          </p:nvSpPr>
          <p:spPr>
            <a:xfrm>
              <a:off x="8830716" y="620688"/>
              <a:ext cx="1224136" cy="2160240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2000">
                <a:solidFill>
                  <a:srgbClr val="000000"/>
                </a:solidFill>
              </a:endParaRPr>
            </a:p>
          </p:txBody>
        </p:sp>
        <p:sp>
          <p:nvSpPr>
            <p:cNvPr id="146" name="Rounded Rectangle 145"/>
            <p:cNvSpPr/>
            <p:nvPr/>
          </p:nvSpPr>
          <p:spPr>
            <a:xfrm>
              <a:off x="9010736" y="868243"/>
              <a:ext cx="864096" cy="1715082"/>
            </a:xfrm>
            <a:prstGeom prst="roundRect">
              <a:avLst>
                <a:gd name="adj" fmla="val 30777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b="1" dirty="0">
                  <a:solidFill>
                    <a:srgbClr val="C1EBF7">
                      <a:lumMod val="10000"/>
                    </a:srgbClr>
                  </a:solidFill>
                </a:rPr>
                <a:t>Better price discoveries </a:t>
              </a:r>
            </a:p>
          </p:txBody>
        </p:sp>
      </p:grpSp>
      <p:pic>
        <p:nvPicPr>
          <p:cNvPr id="147" name="Picture 146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8441366" flipH="1">
            <a:off x="3265572" y="5136440"/>
            <a:ext cx="590284" cy="493182"/>
          </a:xfrm>
          <a:prstGeom prst="rect">
            <a:avLst/>
          </a:prstGeom>
        </p:spPr>
      </p:pic>
      <p:pic>
        <p:nvPicPr>
          <p:cNvPr id="148" name="Picture 147"/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248953">
            <a:off x="8236606" y="5062240"/>
            <a:ext cx="713756" cy="48857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3587536" y="1018108"/>
            <a:ext cx="2304000" cy="1873069"/>
            <a:chOff x="8830716" y="620688"/>
            <a:chExt cx="1224136" cy="2160240"/>
          </a:xfrm>
        </p:grpSpPr>
        <p:sp>
          <p:nvSpPr>
            <p:cNvPr id="32" name="Oval 31"/>
            <p:cNvSpPr/>
            <p:nvPr/>
          </p:nvSpPr>
          <p:spPr>
            <a:xfrm>
              <a:off x="8830716" y="620688"/>
              <a:ext cx="1224136" cy="2160240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2000">
                <a:solidFill>
                  <a:srgbClr val="000000"/>
                </a:solidFill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>
              <a:off x="8892617" y="987248"/>
              <a:ext cx="1107288" cy="1480134"/>
            </a:xfrm>
            <a:prstGeom prst="roundRect">
              <a:avLst>
                <a:gd name="adj" fmla="val 30777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b="1" dirty="0">
                  <a:solidFill>
                    <a:srgbClr val="C1EBF7">
                      <a:lumMod val="10000"/>
                    </a:srgbClr>
                  </a:solidFill>
                </a:rPr>
                <a:t>Smooth EMD Payment &amp; Refund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6026295" y="1018108"/>
            <a:ext cx="2304000" cy="1872000"/>
            <a:chOff x="8830716" y="620688"/>
            <a:chExt cx="1224136" cy="2160240"/>
          </a:xfrm>
        </p:grpSpPr>
        <p:sp>
          <p:nvSpPr>
            <p:cNvPr id="37" name="Oval 36"/>
            <p:cNvSpPr/>
            <p:nvPr/>
          </p:nvSpPr>
          <p:spPr>
            <a:xfrm>
              <a:off x="8830716" y="620688"/>
              <a:ext cx="1224136" cy="2160240"/>
            </a:xfrm>
            <a:prstGeom prst="ellips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IN" sz="2000">
                <a:solidFill>
                  <a:srgbClr val="000000"/>
                </a:solidFill>
              </a:endParaRPr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8897179" y="987248"/>
              <a:ext cx="1092486" cy="1480134"/>
            </a:xfrm>
            <a:prstGeom prst="roundRect">
              <a:avLst>
                <a:gd name="adj" fmla="val 30777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b="1" dirty="0">
                  <a:solidFill>
                    <a:srgbClr val="C1EBF7">
                      <a:lumMod val="10000"/>
                    </a:srgbClr>
                  </a:solidFill>
                </a:rPr>
                <a:t>Reduction in </a:t>
              </a:r>
              <a:r>
                <a:rPr lang="en-IN" b="1" dirty="0" smtClean="0">
                  <a:solidFill>
                    <a:srgbClr val="C1EBF7">
                      <a:lumMod val="10000"/>
                    </a:srgbClr>
                  </a:solidFill>
                </a:rPr>
                <a:t>complaints and litigation</a:t>
              </a:r>
              <a:endParaRPr lang="en-IN" b="1" dirty="0">
                <a:solidFill>
                  <a:srgbClr val="C1EBF7">
                    <a:lumMod val="10000"/>
                  </a:srgbClr>
                </a:solidFill>
              </a:endParaRPr>
            </a:p>
          </p:txBody>
        </p:sp>
      </p:grpSp>
      <p:pic>
        <p:nvPicPr>
          <p:cNvPr id="39" name="Picture 38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5237636">
            <a:off x="5178395" y="2834366"/>
            <a:ext cx="613183" cy="486000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7887014">
            <a:off x="6122580" y="2828068"/>
            <a:ext cx="576000" cy="485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18219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2"/>
          <p:cNvSpPr txBox="1">
            <a:spLocks/>
          </p:cNvSpPr>
          <p:nvPr/>
        </p:nvSpPr>
        <p:spPr>
          <a:xfrm>
            <a:off x="1505744" y="298254"/>
            <a:ext cx="9144001" cy="838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4800" b="0" kern="1200" cap="none" spc="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b="1" u="sng" dirty="0" smtClean="0">
                <a:solidFill>
                  <a:prstClr val="white"/>
                </a:solidFill>
              </a:rPr>
              <a:t>Performance Benefits</a:t>
            </a:r>
            <a:endParaRPr lang="en-US" sz="4400" b="1" u="sng" dirty="0">
              <a:solidFill>
                <a:prstClr val="white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216"/>
          <a:stretch/>
        </p:blipFill>
        <p:spPr>
          <a:xfrm>
            <a:off x="50125" y="53554"/>
            <a:ext cx="1263332" cy="12600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50125" y="1418897"/>
            <a:ext cx="5652093" cy="582672"/>
            <a:chOff x="0" y="1143000"/>
            <a:chExt cx="4286252" cy="612648"/>
          </a:xfrm>
        </p:grpSpPr>
        <p:sp>
          <p:nvSpPr>
            <p:cNvPr id="18" name="Rounded Rectangle 17"/>
            <p:cNvSpPr/>
            <p:nvPr/>
          </p:nvSpPr>
          <p:spPr>
            <a:xfrm rot="5400000">
              <a:off x="1955915" y="-665013"/>
              <a:ext cx="432000" cy="4228674"/>
            </a:xfrm>
            <a:prstGeom prst="roundRect">
              <a:avLst>
                <a:gd name="adj" fmla="val 49922"/>
              </a:avLst>
            </a:prstGeom>
            <a:solidFill>
              <a:srgbClr val="016AA3"/>
            </a:solidFill>
            <a:ln>
              <a:noFill/>
            </a:ln>
            <a:effectLst>
              <a:innerShdw blurRad="63500" dist="50800" dir="162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r"/>
              <a:r>
                <a:rPr lang="en-US" sz="1600" b="1" dirty="0" smtClean="0">
                  <a:solidFill>
                    <a:prstClr val="white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ncreased Bidder Participation</a:t>
              </a:r>
              <a:endParaRPr lang="en-US" sz="16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0" y="1143000"/>
              <a:ext cx="612648" cy="612648"/>
            </a:xfrm>
            <a:prstGeom prst="ellipse">
              <a:avLst/>
            </a:prstGeom>
            <a:solidFill>
              <a:srgbClr val="016AA3"/>
            </a:solidFill>
            <a:ln w="28575">
              <a:solidFill>
                <a:schemeClr val="bg1"/>
              </a:solidFill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118872" y="1266445"/>
              <a:ext cx="374904" cy="365758"/>
              <a:chOff x="7600950" y="779464"/>
              <a:chExt cx="285751" cy="252411"/>
            </a:xfrm>
            <a:solidFill>
              <a:schemeClr val="bg1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21" name="Freeform 3136"/>
              <p:cNvSpPr>
                <a:spLocks noEditPoints="1"/>
              </p:cNvSpPr>
              <p:nvPr/>
            </p:nvSpPr>
            <p:spPr bwMode="auto">
              <a:xfrm>
                <a:off x="7600950" y="879475"/>
                <a:ext cx="66675" cy="152400"/>
              </a:xfrm>
              <a:custGeom>
                <a:avLst/>
                <a:gdLst>
                  <a:gd name="T0" fmla="*/ 104 w 168"/>
                  <a:gd name="T1" fmla="*/ 330 h 385"/>
                  <a:gd name="T2" fmla="*/ 98 w 168"/>
                  <a:gd name="T3" fmla="*/ 329 h 385"/>
                  <a:gd name="T4" fmla="*/ 93 w 168"/>
                  <a:gd name="T5" fmla="*/ 326 h 385"/>
                  <a:gd name="T6" fmla="*/ 90 w 168"/>
                  <a:gd name="T7" fmla="*/ 320 h 385"/>
                  <a:gd name="T8" fmla="*/ 88 w 168"/>
                  <a:gd name="T9" fmla="*/ 316 h 385"/>
                  <a:gd name="T10" fmla="*/ 90 w 168"/>
                  <a:gd name="T11" fmla="*/ 310 h 385"/>
                  <a:gd name="T12" fmla="*/ 93 w 168"/>
                  <a:gd name="T13" fmla="*/ 305 h 385"/>
                  <a:gd name="T14" fmla="*/ 98 w 168"/>
                  <a:gd name="T15" fmla="*/ 301 h 385"/>
                  <a:gd name="T16" fmla="*/ 104 w 168"/>
                  <a:gd name="T17" fmla="*/ 300 h 385"/>
                  <a:gd name="T18" fmla="*/ 110 w 168"/>
                  <a:gd name="T19" fmla="*/ 301 h 385"/>
                  <a:gd name="T20" fmla="*/ 115 w 168"/>
                  <a:gd name="T21" fmla="*/ 305 h 385"/>
                  <a:gd name="T22" fmla="*/ 117 w 168"/>
                  <a:gd name="T23" fmla="*/ 310 h 385"/>
                  <a:gd name="T24" fmla="*/ 118 w 168"/>
                  <a:gd name="T25" fmla="*/ 316 h 385"/>
                  <a:gd name="T26" fmla="*/ 117 w 168"/>
                  <a:gd name="T27" fmla="*/ 320 h 385"/>
                  <a:gd name="T28" fmla="*/ 115 w 168"/>
                  <a:gd name="T29" fmla="*/ 326 h 385"/>
                  <a:gd name="T30" fmla="*/ 110 w 168"/>
                  <a:gd name="T31" fmla="*/ 329 h 385"/>
                  <a:gd name="T32" fmla="*/ 104 w 168"/>
                  <a:gd name="T33" fmla="*/ 330 h 385"/>
                  <a:gd name="T34" fmla="*/ 104 w 168"/>
                  <a:gd name="T35" fmla="*/ 330 h 385"/>
                  <a:gd name="T36" fmla="*/ 156 w 168"/>
                  <a:gd name="T37" fmla="*/ 2 h 385"/>
                  <a:gd name="T38" fmla="*/ 13 w 168"/>
                  <a:gd name="T39" fmla="*/ 0 h 385"/>
                  <a:gd name="T40" fmla="*/ 9 w 168"/>
                  <a:gd name="T41" fmla="*/ 2 h 385"/>
                  <a:gd name="T42" fmla="*/ 4 w 168"/>
                  <a:gd name="T43" fmla="*/ 4 h 385"/>
                  <a:gd name="T44" fmla="*/ 2 w 168"/>
                  <a:gd name="T45" fmla="*/ 9 h 385"/>
                  <a:gd name="T46" fmla="*/ 0 w 168"/>
                  <a:gd name="T47" fmla="*/ 14 h 385"/>
                  <a:gd name="T48" fmla="*/ 0 w 168"/>
                  <a:gd name="T49" fmla="*/ 373 h 385"/>
                  <a:gd name="T50" fmla="*/ 2 w 168"/>
                  <a:gd name="T51" fmla="*/ 378 h 385"/>
                  <a:gd name="T52" fmla="*/ 4 w 168"/>
                  <a:gd name="T53" fmla="*/ 381 h 385"/>
                  <a:gd name="T54" fmla="*/ 9 w 168"/>
                  <a:gd name="T55" fmla="*/ 383 h 385"/>
                  <a:gd name="T56" fmla="*/ 13 w 168"/>
                  <a:gd name="T57" fmla="*/ 385 h 385"/>
                  <a:gd name="T58" fmla="*/ 156 w 168"/>
                  <a:gd name="T59" fmla="*/ 385 h 385"/>
                  <a:gd name="T60" fmla="*/ 161 w 168"/>
                  <a:gd name="T61" fmla="*/ 383 h 385"/>
                  <a:gd name="T62" fmla="*/ 165 w 168"/>
                  <a:gd name="T63" fmla="*/ 381 h 385"/>
                  <a:gd name="T64" fmla="*/ 168 w 168"/>
                  <a:gd name="T65" fmla="*/ 378 h 385"/>
                  <a:gd name="T66" fmla="*/ 168 w 168"/>
                  <a:gd name="T67" fmla="*/ 373 h 385"/>
                  <a:gd name="T68" fmla="*/ 168 w 168"/>
                  <a:gd name="T69" fmla="*/ 303 h 385"/>
                  <a:gd name="T70" fmla="*/ 168 w 168"/>
                  <a:gd name="T71" fmla="*/ 72 h 385"/>
                  <a:gd name="T72" fmla="*/ 168 w 168"/>
                  <a:gd name="T73" fmla="*/ 14 h 385"/>
                  <a:gd name="T74" fmla="*/ 168 w 168"/>
                  <a:gd name="T75" fmla="*/ 9 h 385"/>
                  <a:gd name="T76" fmla="*/ 166 w 168"/>
                  <a:gd name="T77" fmla="*/ 5 h 385"/>
                  <a:gd name="T78" fmla="*/ 161 w 168"/>
                  <a:gd name="T79" fmla="*/ 3 h 385"/>
                  <a:gd name="T80" fmla="*/ 156 w 168"/>
                  <a:gd name="T81" fmla="*/ 2 h 385"/>
                  <a:gd name="T82" fmla="*/ 156 w 168"/>
                  <a:gd name="T83" fmla="*/ 2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8" h="385">
                    <a:moveTo>
                      <a:pt x="104" y="330"/>
                    </a:moveTo>
                    <a:lnTo>
                      <a:pt x="98" y="329"/>
                    </a:lnTo>
                    <a:lnTo>
                      <a:pt x="93" y="326"/>
                    </a:lnTo>
                    <a:lnTo>
                      <a:pt x="90" y="320"/>
                    </a:lnTo>
                    <a:lnTo>
                      <a:pt x="88" y="316"/>
                    </a:lnTo>
                    <a:lnTo>
                      <a:pt x="90" y="310"/>
                    </a:lnTo>
                    <a:lnTo>
                      <a:pt x="93" y="305"/>
                    </a:lnTo>
                    <a:lnTo>
                      <a:pt x="98" y="301"/>
                    </a:lnTo>
                    <a:lnTo>
                      <a:pt x="104" y="300"/>
                    </a:lnTo>
                    <a:lnTo>
                      <a:pt x="110" y="301"/>
                    </a:lnTo>
                    <a:lnTo>
                      <a:pt x="115" y="305"/>
                    </a:lnTo>
                    <a:lnTo>
                      <a:pt x="117" y="310"/>
                    </a:lnTo>
                    <a:lnTo>
                      <a:pt x="118" y="316"/>
                    </a:lnTo>
                    <a:lnTo>
                      <a:pt x="117" y="320"/>
                    </a:lnTo>
                    <a:lnTo>
                      <a:pt x="115" y="326"/>
                    </a:lnTo>
                    <a:lnTo>
                      <a:pt x="110" y="329"/>
                    </a:lnTo>
                    <a:lnTo>
                      <a:pt x="104" y="330"/>
                    </a:lnTo>
                    <a:lnTo>
                      <a:pt x="104" y="330"/>
                    </a:lnTo>
                    <a:close/>
                    <a:moveTo>
                      <a:pt x="156" y="2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4" y="4"/>
                    </a:lnTo>
                    <a:lnTo>
                      <a:pt x="2" y="9"/>
                    </a:lnTo>
                    <a:lnTo>
                      <a:pt x="0" y="14"/>
                    </a:lnTo>
                    <a:lnTo>
                      <a:pt x="0" y="373"/>
                    </a:lnTo>
                    <a:lnTo>
                      <a:pt x="2" y="378"/>
                    </a:lnTo>
                    <a:lnTo>
                      <a:pt x="4" y="381"/>
                    </a:lnTo>
                    <a:lnTo>
                      <a:pt x="9" y="383"/>
                    </a:lnTo>
                    <a:lnTo>
                      <a:pt x="13" y="385"/>
                    </a:lnTo>
                    <a:lnTo>
                      <a:pt x="156" y="385"/>
                    </a:lnTo>
                    <a:lnTo>
                      <a:pt x="161" y="383"/>
                    </a:lnTo>
                    <a:lnTo>
                      <a:pt x="165" y="381"/>
                    </a:lnTo>
                    <a:lnTo>
                      <a:pt x="168" y="378"/>
                    </a:lnTo>
                    <a:lnTo>
                      <a:pt x="168" y="373"/>
                    </a:lnTo>
                    <a:lnTo>
                      <a:pt x="168" y="303"/>
                    </a:lnTo>
                    <a:lnTo>
                      <a:pt x="168" y="72"/>
                    </a:lnTo>
                    <a:lnTo>
                      <a:pt x="168" y="14"/>
                    </a:lnTo>
                    <a:lnTo>
                      <a:pt x="168" y="9"/>
                    </a:lnTo>
                    <a:lnTo>
                      <a:pt x="166" y="5"/>
                    </a:lnTo>
                    <a:lnTo>
                      <a:pt x="161" y="3"/>
                    </a:lnTo>
                    <a:lnTo>
                      <a:pt x="156" y="2"/>
                    </a:lnTo>
                    <a:lnTo>
                      <a:pt x="156" y="2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3135"/>
              <p:cNvSpPr>
                <a:spLocks/>
              </p:cNvSpPr>
              <p:nvPr/>
            </p:nvSpPr>
            <p:spPr bwMode="auto">
              <a:xfrm>
                <a:off x="7677151" y="779464"/>
                <a:ext cx="209550" cy="242888"/>
              </a:xfrm>
              <a:custGeom>
                <a:avLst/>
                <a:gdLst>
                  <a:gd name="T0" fmla="*/ 526 w 527"/>
                  <a:gd name="T1" fmla="*/ 282 h 612"/>
                  <a:gd name="T2" fmla="*/ 523 w 527"/>
                  <a:gd name="T3" fmla="*/ 270 h 612"/>
                  <a:gd name="T4" fmla="*/ 516 w 527"/>
                  <a:gd name="T5" fmla="*/ 255 h 612"/>
                  <a:gd name="T6" fmla="*/ 500 w 527"/>
                  <a:gd name="T7" fmla="*/ 240 h 612"/>
                  <a:gd name="T8" fmla="*/ 484 w 527"/>
                  <a:gd name="T9" fmla="*/ 231 h 612"/>
                  <a:gd name="T10" fmla="*/ 472 w 527"/>
                  <a:gd name="T11" fmla="*/ 229 h 612"/>
                  <a:gd name="T12" fmla="*/ 244 w 527"/>
                  <a:gd name="T13" fmla="*/ 229 h 612"/>
                  <a:gd name="T14" fmla="*/ 256 w 527"/>
                  <a:gd name="T15" fmla="*/ 196 h 612"/>
                  <a:gd name="T16" fmla="*/ 267 w 527"/>
                  <a:gd name="T17" fmla="*/ 154 h 612"/>
                  <a:gd name="T18" fmla="*/ 273 w 527"/>
                  <a:gd name="T19" fmla="*/ 110 h 612"/>
                  <a:gd name="T20" fmla="*/ 273 w 527"/>
                  <a:gd name="T21" fmla="*/ 90 h 612"/>
                  <a:gd name="T22" fmla="*/ 269 w 527"/>
                  <a:gd name="T23" fmla="*/ 71 h 612"/>
                  <a:gd name="T24" fmla="*/ 262 w 527"/>
                  <a:gd name="T25" fmla="*/ 49 h 612"/>
                  <a:gd name="T26" fmla="*/ 252 w 527"/>
                  <a:gd name="T27" fmla="*/ 33 h 612"/>
                  <a:gd name="T28" fmla="*/ 243 w 527"/>
                  <a:gd name="T29" fmla="*/ 21 h 612"/>
                  <a:gd name="T30" fmla="*/ 233 w 527"/>
                  <a:gd name="T31" fmla="*/ 11 h 612"/>
                  <a:gd name="T32" fmla="*/ 215 w 527"/>
                  <a:gd name="T33" fmla="*/ 3 h 612"/>
                  <a:gd name="T34" fmla="*/ 202 w 527"/>
                  <a:gd name="T35" fmla="*/ 0 h 612"/>
                  <a:gd name="T36" fmla="*/ 184 w 527"/>
                  <a:gd name="T37" fmla="*/ 5 h 612"/>
                  <a:gd name="T38" fmla="*/ 169 w 527"/>
                  <a:gd name="T39" fmla="*/ 16 h 612"/>
                  <a:gd name="T40" fmla="*/ 159 w 527"/>
                  <a:gd name="T41" fmla="*/ 33 h 612"/>
                  <a:gd name="T42" fmla="*/ 155 w 527"/>
                  <a:gd name="T43" fmla="*/ 53 h 612"/>
                  <a:gd name="T44" fmla="*/ 151 w 527"/>
                  <a:gd name="T45" fmla="*/ 90 h 612"/>
                  <a:gd name="T46" fmla="*/ 140 w 527"/>
                  <a:gd name="T47" fmla="*/ 127 h 612"/>
                  <a:gd name="T48" fmla="*/ 124 w 527"/>
                  <a:gd name="T49" fmla="*/ 162 h 612"/>
                  <a:gd name="T50" fmla="*/ 102 w 527"/>
                  <a:gd name="T51" fmla="*/ 197 h 612"/>
                  <a:gd name="T52" fmla="*/ 79 w 527"/>
                  <a:gd name="T53" fmla="*/ 226 h 612"/>
                  <a:gd name="T54" fmla="*/ 52 w 527"/>
                  <a:gd name="T55" fmla="*/ 254 h 612"/>
                  <a:gd name="T56" fmla="*/ 26 w 527"/>
                  <a:gd name="T57" fmla="*/ 275 h 612"/>
                  <a:gd name="T58" fmla="*/ 0 w 527"/>
                  <a:gd name="T59" fmla="*/ 291 h 612"/>
                  <a:gd name="T60" fmla="*/ 17 w 527"/>
                  <a:gd name="T61" fmla="*/ 586 h 612"/>
                  <a:gd name="T62" fmla="*/ 48 w 527"/>
                  <a:gd name="T63" fmla="*/ 592 h 612"/>
                  <a:gd name="T64" fmla="*/ 88 w 527"/>
                  <a:gd name="T65" fmla="*/ 602 h 612"/>
                  <a:gd name="T66" fmla="*/ 129 w 527"/>
                  <a:gd name="T67" fmla="*/ 610 h 612"/>
                  <a:gd name="T68" fmla="*/ 161 w 527"/>
                  <a:gd name="T69" fmla="*/ 612 h 612"/>
                  <a:gd name="T70" fmla="*/ 383 w 527"/>
                  <a:gd name="T71" fmla="*/ 612 h 612"/>
                  <a:gd name="T72" fmla="*/ 403 w 527"/>
                  <a:gd name="T73" fmla="*/ 608 h 612"/>
                  <a:gd name="T74" fmla="*/ 419 w 527"/>
                  <a:gd name="T75" fmla="*/ 600 h 612"/>
                  <a:gd name="T76" fmla="*/ 428 w 527"/>
                  <a:gd name="T77" fmla="*/ 585 h 612"/>
                  <a:gd name="T78" fmla="*/ 431 w 527"/>
                  <a:gd name="T79" fmla="*/ 564 h 612"/>
                  <a:gd name="T80" fmla="*/ 428 w 527"/>
                  <a:gd name="T81" fmla="*/ 550 h 612"/>
                  <a:gd name="T82" fmla="*/ 424 w 527"/>
                  <a:gd name="T83" fmla="*/ 538 h 612"/>
                  <a:gd name="T84" fmla="*/ 441 w 527"/>
                  <a:gd name="T85" fmla="*/ 532 h 612"/>
                  <a:gd name="T86" fmla="*/ 455 w 527"/>
                  <a:gd name="T87" fmla="*/ 523 h 612"/>
                  <a:gd name="T88" fmla="*/ 464 w 527"/>
                  <a:gd name="T89" fmla="*/ 508 h 612"/>
                  <a:gd name="T90" fmla="*/ 466 w 527"/>
                  <a:gd name="T91" fmla="*/ 492 h 612"/>
                  <a:gd name="T92" fmla="*/ 464 w 527"/>
                  <a:gd name="T93" fmla="*/ 472 h 612"/>
                  <a:gd name="T94" fmla="*/ 456 w 527"/>
                  <a:gd name="T95" fmla="*/ 455 h 612"/>
                  <a:gd name="T96" fmla="*/ 475 w 527"/>
                  <a:gd name="T97" fmla="*/ 447 h 612"/>
                  <a:gd name="T98" fmla="*/ 489 w 527"/>
                  <a:gd name="T99" fmla="*/ 433 h 612"/>
                  <a:gd name="T100" fmla="*/ 499 w 527"/>
                  <a:gd name="T101" fmla="*/ 416 h 612"/>
                  <a:gd name="T102" fmla="*/ 502 w 527"/>
                  <a:gd name="T103" fmla="*/ 397 h 612"/>
                  <a:gd name="T104" fmla="*/ 501 w 527"/>
                  <a:gd name="T105" fmla="*/ 386 h 612"/>
                  <a:gd name="T106" fmla="*/ 497 w 527"/>
                  <a:gd name="T107" fmla="*/ 375 h 612"/>
                  <a:gd name="T108" fmla="*/ 484 w 527"/>
                  <a:gd name="T109" fmla="*/ 357 h 612"/>
                  <a:gd name="T110" fmla="*/ 503 w 527"/>
                  <a:gd name="T111" fmla="*/ 345 h 612"/>
                  <a:gd name="T112" fmla="*/ 516 w 527"/>
                  <a:gd name="T113" fmla="*/ 329 h 612"/>
                  <a:gd name="T114" fmla="*/ 523 w 527"/>
                  <a:gd name="T115" fmla="*/ 309 h 612"/>
                  <a:gd name="T116" fmla="*/ 527 w 527"/>
                  <a:gd name="T117" fmla="*/ 288 h 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27" h="612">
                    <a:moveTo>
                      <a:pt x="527" y="288"/>
                    </a:moveTo>
                    <a:lnTo>
                      <a:pt x="526" y="282"/>
                    </a:lnTo>
                    <a:lnTo>
                      <a:pt x="526" y="276"/>
                    </a:lnTo>
                    <a:lnTo>
                      <a:pt x="523" y="270"/>
                    </a:lnTo>
                    <a:lnTo>
                      <a:pt x="522" y="266"/>
                    </a:lnTo>
                    <a:lnTo>
                      <a:pt x="516" y="255"/>
                    </a:lnTo>
                    <a:lnTo>
                      <a:pt x="509" y="247"/>
                    </a:lnTo>
                    <a:lnTo>
                      <a:pt x="500" y="240"/>
                    </a:lnTo>
                    <a:lnTo>
                      <a:pt x="489" y="234"/>
                    </a:lnTo>
                    <a:lnTo>
                      <a:pt x="484" y="231"/>
                    </a:lnTo>
                    <a:lnTo>
                      <a:pt x="478" y="230"/>
                    </a:lnTo>
                    <a:lnTo>
                      <a:pt x="472" y="229"/>
                    </a:lnTo>
                    <a:lnTo>
                      <a:pt x="466" y="229"/>
                    </a:lnTo>
                    <a:lnTo>
                      <a:pt x="244" y="229"/>
                    </a:lnTo>
                    <a:lnTo>
                      <a:pt x="250" y="213"/>
                    </a:lnTo>
                    <a:lnTo>
                      <a:pt x="256" y="196"/>
                    </a:lnTo>
                    <a:lnTo>
                      <a:pt x="261" y="175"/>
                    </a:lnTo>
                    <a:lnTo>
                      <a:pt x="267" y="154"/>
                    </a:lnTo>
                    <a:lnTo>
                      <a:pt x="270" y="131"/>
                    </a:lnTo>
                    <a:lnTo>
                      <a:pt x="273" y="110"/>
                    </a:lnTo>
                    <a:lnTo>
                      <a:pt x="273" y="99"/>
                    </a:lnTo>
                    <a:lnTo>
                      <a:pt x="273" y="90"/>
                    </a:lnTo>
                    <a:lnTo>
                      <a:pt x="271" y="80"/>
                    </a:lnTo>
                    <a:lnTo>
                      <a:pt x="269" y="71"/>
                    </a:lnTo>
                    <a:lnTo>
                      <a:pt x="265" y="60"/>
                    </a:lnTo>
                    <a:lnTo>
                      <a:pt x="262" y="49"/>
                    </a:lnTo>
                    <a:lnTo>
                      <a:pt x="257" y="41"/>
                    </a:lnTo>
                    <a:lnTo>
                      <a:pt x="252" y="33"/>
                    </a:lnTo>
                    <a:lnTo>
                      <a:pt x="248" y="25"/>
                    </a:lnTo>
                    <a:lnTo>
                      <a:pt x="243" y="21"/>
                    </a:lnTo>
                    <a:lnTo>
                      <a:pt x="238" y="16"/>
                    </a:lnTo>
                    <a:lnTo>
                      <a:pt x="233" y="11"/>
                    </a:lnTo>
                    <a:lnTo>
                      <a:pt x="224" y="6"/>
                    </a:lnTo>
                    <a:lnTo>
                      <a:pt x="215" y="3"/>
                    </a:lnTo>
                    <a:lnTo>
                      <a:pt x="208" y="2"/>
                    </a:lnTo>
                    <a:lnTo>
                      <a:pt x="202" y="0"/>
                    </a:lnTo>
                    <a:lnTo>
                      <a:pt x="193" y="2"/>
                    </a:lnTo>
                    <a:lnTo>
                      <a:pt x="184" y="5"/>
                    </a:lnTo>
                    <a:lnTo>
                      <a:pt x="176" y="10"/>
                    </a:lnTo>
                    <a:lnTo>
                      <a:pt x="169" y="16"/>
                    </a:lnTo>
                    <a:lnTo>
                      <a:pt x="163" y="23"/>
                    </a:lnTo>
                    <a:lnTo>
                      <a:pt x="159" y="33"/>
                    </a:lnTo>
                    <a:lnTo>
                      <a:pt x="156" y="42"/>
                    </a:lnTo>
                    <a:lnTo>
                      <a:pt x="155" y="53"/>
                    </a:lnTo>
                    <a:lnTo>
                      <a:pt x="155" y="71"/>
                    </a:lnTo>
                    <a:lnTo>
                      <a:pt x="151" y="90"/>
                    </a:lnTo>
                    <a:lnTo>
                      <a:pt x="146" y="109"/>
                    </a:lnTo>
                    <a:lnTo>
                      <a:pt x="140" y="127"/>
                    </a:lnTo>
                    <a:lnTo>
                      <a:pt x="133" y="144"/>
                    </a:lnTo>
                    <a:lnTo>
                      <a:pt x="124" y="162"/>
                    </a:lnTo>
                    <a:lnTo>
                      <a:pt x="114" y="180"/>
                    </a:lnTo>
                    <a:lnTo>
                      <a:pt x="102" y="197"/>
                    </a:lnTo>
                    <a:lnTo>
                      <a:pt x="91" y="212"/>
                    </a:lnTo>
                    <a:lnTo>
                      <a:pt x="79" y="226"/>
                    </a:lnTo>
                    <a:lnTo>
                      <a:pt x="66" y="241"/>
                    </a:lnTo>
                    <a:lnTo>
                      <a:pt x="52" y="254"/>
                    </a:lnTo>
                    <a:lnTo>
                      <a:pt x="39" y="266"/>
                    </a:lnTo>
                    <a:lnTo>
                      <a:pt x="26" y="275"/>
                    </a:lnTo>
                    <a:lnTo>
                      <a:pt x="12" y="284"/>
                    </a:lnTo>
                    <a:lnTo>
                      <a:pt x="0" y="291"/>
                    </a:lnTo>
                    <a:lnTo>
                      <a:pt x="0" y="582"/>
                    </a:lnTo>
                    <a:lnTo>
                      <a:pt x="17" y="586"/>
                    </a:lnTo>
                    <a:lnTo>
                      <a:pt x="32" y="588"/>
                    </a:lnTo>
                    <a:lnTo>
                      <a:pt x="48" y="592"/>
                    </a:lnTo>
                    <a:lnTo>
                      <a:pt x="61" y="595"/>
                    </a:lnTo>
                    <a:lnTo>
                      <a:pt x="88" y="602"/>
                    </a:lnTo>
                    <a:lnTo>
                      <a:pt x="114" y="607"/>
                    </a:lnTo>
                    <a:lnTo>
                      <a:pt x="129" y="610"/>
                    </a:lnTo>
                    <a:lnTo>
                      <a:pt x="144" y="611"/>
                    </a:lnTo>
                    <a:lnTo>
                      <a:pt x="161" y="612"/>
                    </a:lnTo>
                    <a:lnTo>
                      <a:pt x="180" y="612"/>
                    </a:lnTo>
                    <a:lnTo>
                      <a:pt x="383" y="612"/>
                    </a:lnTo>
                    <a:lnTo>
                      <a:pt x="394" y="611"/>
                    </a:lnTo>
                    <a:lnTo>
                      <a:pt x="403" y="608"/>
                    </a:lnTo>
                    <a:lnTo>
                      <a:pt x="412" y="605"/>
                    </a:lnTo>
                    <a:lnTo>
                      <a:pt x="419" y="600"/>
                    </a:lnTo>
                    <a:lnTo>
                      <a:pt x="424" y="593"/>
                    </a:lnTo>
                    <a:lnTo>
                      <a:pt x="428" y="585"/>
                    </a:lnTo>
                    <a:lnTo>
                      <a:pt x="430" y="575"/>
                    </a:lnTo>
                    <a:lnTo>
                      <a:pt x="431" y="564"/>
                    </a:lnTo>
                    <a:lnTo>
                      <a:pt x="431" y="557"/>
                    </a:lnTo>
                    <a:lnTo>
                      <a:pt x="428" y="550"/>
                    </a:lnTo>
                    <a:lnTo>
                      <a:pt x="426" y="544"/>
                    </a:lnTo>
                    <a:lnTo>
                      <a:pt x="424" y="538"/>
                    </a:lnTo>
                    <a:lnTo>
                      <a:pt x="433" y="536"/>
                    </a:lnTo>
                    <a:lnTo>
                      <a:pt x="441" y="532"/>
                    </a:lnTo>
                    <a:lnTo>
                      <a:pt x="449" y="527"/>
                    </a:lnTo>
                    <a:lnTo>
                      <a:pt x="455" y="523"/>
                    </a:lnTo>
                    <a:lnTo>
                      <a:pt x="460" y="516"/>
                    </a:lnTo>
                    <a:lnTo>
                      <a:pt x="464" y="508"/>
                    </a:lnTo>
                    <a:lnTo>
                      <a:pt x="466" y="501"/>
                    </a:lnTo>
                    <a:lnTo>
                      <a:pt x="466" y="492"/>
                    </a:lnTo>
                    <a:lnTo>
                      <a:pt x="466" y="481"/>
                    </a:lnTo>
                    <a:lnTo>
                      <a:pt x="464" y="472"/>
                    </a:lnTo>
                    <a:lnTo>
                      <a:pt x="460" y="462"/>
                    </a:lnTo>
                    <a:lnTo>
                      <a:pt x="456" y="455"/>
                    </a:lnTo>
                    <a:lnTo>
                      <a:pt x="465" y="451"/>
                    </a:lnTo>
                    <a:lnTo>
                      <a:pt x="475" y="447"/>
                    </a:lnTo>
                    <a:lnTo>
                      <a:pt x="482" y="441"/>
                    </a:lnTo>
                    <a:lnTo>
                      <a:pt x="489" y="433"/>
                    </a:lnTo>
                    <a:lnTo>
                      <a:pt x="495" y="425"/>
                    </a:lnTo>
                    <a:lnTo>
                      <a:pt x="499" y="416"/>
                    </a:lnTo>
                    <a:lnTo>
                      <a:pt x="502" y="406"/>
                    </a:lnTo>
                    <a:lnTo>
                      <a:pt x="502" y="397"/>
                    </a:lnTo>
                    <a:lnTo>
                      <a:pt x="502" y="391"/>
                    </a:lnTo>
                    <a:lnTo>
                      <a:pt x="501" y="386"/>
                    </a:lnTo>
                    <a:lnTo>
                      <a:pt x="500" y="380"/>
                    </a:lnTo>
                    <a:lnTo>
                      <a:pt x="497" y="375"/>
                    </a:lnTo>
                    <a:lnTo>
                      <a:pt x="491" y="366"/>
                    </a:lnTo>
                    <a:lnTo>
                      <a:pt x="484" y="357"/>
                    </a:lnTo>
                    <a:lnTo>
                      <a:pt x="495" y="353"/>
                    </a:lnTo>
                    <a:lnTo>
                      <a:pt x="503" y="345"/>
                    </a:lnTo>
                    <a:lnTo>
                      <a:pt x="510" y="338"/>
                    </a:lnTo>
                    <a:lnTo>
                      <a:pt x="516" y="329"/>
                    </a:lnTo>
                    <a:lnTo>
                      <a:pt x="521" y="319"/>
                    </a:lnTo>
                    <a:lnTo>
                      <a:pt x="523" y="309"/>
                    </a:lnTo>
                    <a:lnTo>
                      <a:pt x="526" y="298"/>
                    </a:lnTo>
                    <a:lnTo>
                      <a:pt x="527" y="288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aphicFrame>
        <p:nvGraphicFramePr>
          <p:cNvPr id="30" name="Chart 29"/>
          <p:cNvGraphicFramePr/>
          <p:nvPr>
            <p:extLst>
              <p:ext uri="{D42A27DB-BD31-4B8C-83A1-F6EECF244321}">
                <p14:modId xmlns:p14="http://schemas.microsoft.com/office/powerpoint/2010/main" xmlns="" val="1249974773"/>
              </p:ext>
            </p:extLst>
          </p:nvPr>
        </p:nvGraphicFramePr>
        <p:xfrm>
          <a:off x="206876" y="2232799"/>
          <a:ext cx="11769410" cy="4441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24938630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igital Blue Tunnel 16x9">
  <a:themeElements>
    <a:clrScheme name="Digital Blue Tunnel">
      <a:dk1>
        <a:srgbClr val="000000"/>
      </a:dk1>
      <a:lt1>
        <a:sysClr val="window" lastClr="FFFFFF"/>
      </a:lt1>
      <a:dk2>
        <a:srgbClr val="001027"/>
      </a:dk2>
      <a:lt2>
        <a:srgbClr val="C1EBF7"/>
      </a:lt2>
      <a:accent1>
        <a:srgbClr val="56C5FF"/>
      </a:accent1>
      <a:accent2>
        <a:srgbClr val="4BB836"/>
      </a:accent2>
      <a:accent3>
        <a:srgbClr val="F8B004"/>
      </a:accent3>
      <a:accent4>
        <a:srgbClr val="972ACD"/>
      </a:accent4>
      <a:accent5>
        <a:srgbClr val="F86E24"/>
      </a:accent5>
      <a:accent6>
        <a:srgbClr val="DB30C7"/>
      </a:accent6>
      <a:hlink>
        <a:srgbClr val="F8B004"/>
      </a:hlink>
      <a:folHlink>
        <a:srgbClr val="969696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TF02895261.potx" id="{03C5CF44-0C62-41B4-B3EA-416B4807878A}" vid="{EC3ACB92-700E-4167-B3A6-412DE40A64C2}"/>
    </a:ext>
  </a:extLst>
</a:theme>
</file>

<file path=ppt/theme/theme4.xml><?xml version="1.0" encoding="utf-8"?>
<a:theme xmlns:a="http://schemas.openxmlformats.org/drawingml/2006/main" name="1_Digital Blue Tunnel 16x9">
  <a:themeElements>
    <a:clrScheme name="Digital Blue Tunnel">
      <a:dk1>
        <a:srgbClr val="000000"/>
      </a:dk1>
      <a:lt1>
        <a:sysClr val="window" lastClr="FFFFFF"/>
      </a:lt1>
      <a:dk2>
        <a:srgbClr val="001027"/>
      </a:dk2>
      <a:lt2>
        <a:srgbClr val="C1EBF7"/>
      </a:lt2>
      <a:accent1>
        <a:srgbClr val="56C5FF"/>
      </a:accent1>
      <a:accent2>
        <a:srgbClr val="4BB836"/>
      </a:accent2>
      <a:accent3>
        <a:srgbClr val="F8B004"/>
      </a:accent3>
      <a:accent4>
        <a:srgbClr val="972ACD"/>
      </a:accent4>
      <a:accent5>
        <a:srgbClr val="F86E24"/>
      </a:accent5>
      <a:accent6>
        <a:srgbClr val="DB30C7"/>
      </a:accent6>
      <a:hlink>
        <a:srgbClr val="F8B004"/>
      </a:hlink>
      <a:folHlink>
        <a:srgbClr val="969696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TF02895261.potx" id="{03C5CF44-0C62-41B4-B3EA-416B4807878A}" vid="{EC3ACB92-700E-4167-B3A6-412DE40A64C2}"/>
    </a:ext>
  </a:extLst>
</a:theme>
</file>

<file path=ppt/theme/theme5.xml><?xml version="1.0" encoding="utf-8"?>
<a:theme xmlns:a="http://schemas.openxmlformats.org/drawingml/2006/main" name="2_Digital Blue Tunnel 16x9">
  <a:themeElements>
    <a:clrScheme name="Digital Blue Tunnel">
      <a:dk1>
        <a:srgbClr val="000000"/>
      </a:dk1>
      <a:lt1>
        <a:sysClr val="window" lastClr="FFFFFF"/>
      </a:lt1>
      <a:dk2>
        <a:srgbClr val="001027"/>
      </a:dk2>
      <a:lt2>
        <a:srgbClr val="C1EBF7"/>
      </a:lt2>
      <a:accent1>
        <a:srgbClr val="56C5FF"/>
      </a:accent1>
      <a:accent2>
        <a:srgbClr val="4BB836"/>
      </a:accent2>
      <a:accent3>
        <a:srgbClr val="F8B004"/>
      </a:accent3>
      <a:accent4>
        <a:srgbClr val="972ACD"/>
      </a:accent4>
      <a:accent5>
        <a:srgbClr val="F86E24"/>
      </a:accent5>
      <a:accent6>
        <a:srgbClr val="DB30C7"/>
      </a:accent6>
      <a:hlink>
        <a:srgbClr val="F8B004"/>
      </a:hlink>
      <a:folHlink>
        <a:srgbClr val="969696"/>
      </a:folHlink>
    </a:clrScheme>
    <a:fontScheme name="Corbel">
      <a:maj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TF02895261.potx" id="{03C5CF44-0C62-41B4-B3EA-416B4807878A}" vid="{EC3ACB92-700E-4167-B3A6-412DE40A64C2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75</TotalTime>
  <Words>367</Words>
  <Application>Microsoft Office PowerPoint</Application>
  <PresentationFormat>Custom</PresentationFormat>
  <Paragraphs>137</Paragraphs>
  <Slides>13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13</vt:i4>
      </vt:variant>
    </vt:vector>
  </HeadingPairs>
  <TitlesOfParts>
    <vt:vector size="18" baseType="lpstr">
      <vt:lpstr>1_Office Theme</vt:lpstr>
      <vt:lpstr>2_Office Theme</vt:lpstr>
      <vt:lpstr>Digital Blue Tunnel 16x9</vt:lpstr>
      <vt:lpstr>1_Digital Blue Tunnel 16x9</vt:lpstr>
      <vt:lpstr>2_Digital Blue Tunnel 16x9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ma, Manish (शर्मा , मनीष)</dc:creator>
  <cp:lastModifiedBy>PC Dhar</cp:lastModifiedBy>
  <cp:revision>100</cp:revision>
  <dcterms:created xsi:type="dcterms:W3CDTF">2018-02-05T05:43:03Z</dcterms:created>
  <dcterms:modified xsi:type="dcterms:W3CDTF">2019-01-17T11:51:47Z</dcterms:modified>
</cp:coreProperties>
</file>